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6" r:id="rId2"/>
    <p:sldId id="261" r:id="rId3"/>
    <p:sldId id="262" r:id="rId4"/>
    <p:sldId id="263" r:id="rId5"/>
    <p:sldId id="269" r:id="rId6"/>
    <p:sldId id="266" r:id="rId7"/>
    <p:sldId id="268" r:id="rId8"/>
    <p:sldId id="267" r:id="rId9"/>
    <p:sldId id="264" r:id="rId10"/>
    <p:sldId id="265" r:id="rId11"/>
  </p:sldIdLst>
  <p:sldSz cx="12192000" cy="6858000"/>
  <p:notesSz cx="6858000" cy="9144000"/>
  <p:custDataLst>
    <p:tags r:id="rId13"/>
  </p:custDataLst>
  <p:defaultTextStyle>
    <a:defPPr>
      <a:defRPr lang="de-DE"/>
    </a:defPPr>
    <a:lvl1pPr marL="0" indent="0" algn="l" defTabSz="914400" rtl="0" eaLnBrk="1" latinLnBrk="0" hangingPunct="1">
      <a:lnSpc>
        <a:spcPct val="108000"/>
      </a:lnSpc>
      <a:spcBef>
        <a:spcPts val="0"/>
      </a:spcBef>
      <a:defRPr sz="2000" kern="1200">
        <a:solidFill>
          <a:schemeClr val="accent1"/>
        </a:solidFill>
        <a:latin typeface="+mn-lt"/>
        <a:ea typeface="+mn-ea"/>
        <a:cs typeface="+mn-cs"/>
      </a:defRPr>
    </a:lvl1pPr>
    <a:lvl2pPr marL="252000" indent="-252000" algn="l" defTabSz="914400" rtl="0" eaLnBrk="1" latinLnBrk="0" hangingPunct="1">
      <a:lnSpc>
        <a:spcPct val="108000"/>
      </a:lnSpc>
      <a:spcBef>
        <a:spcPts val="0"/>
      </a:spcBef>
      <a:buClr>
        <a:schemeClr val="accent2"/>
      </a:buClr>
      <a:buSzPct val="125000"/>
      <a:buFont typeface="Arial" panose="020B0604020202020204" pitchFamily="34" charset="0"/>
      <a:buChar char="›"/>
      <a:defRPr sz="2000" kern="1200">
        <a:solidFill>
          <a:schemeClr val="accent1"/>
        </a:solidFill>
        <a:latin typeface="+mn-lt"/>
        <a:ea typeface="+mn-ea"/>
        <a:cs typeface="+mn-cs"/>
      </a:defRPr>
    </a:lvl2pPr>
    <a:lvl3pPr marL="504000" indent="-252000" algn="l" defTabSz="914400" rtl="0" eaLnBrk="1" latinLnBrk="0" hangingPunct="1">
      <a:lnSpc>
        <a:spcPct val="108000"/>
      </a:lnSpc>
      <a:spcBef>
        <a:spcPts val="0"/>
      </a:spcBef>
      <a:buClr>
        <a:schemeClr val="accent2"/>
      </a:buClr>
      <a:buFont typeface="Arial" panose="020B0604020202020204" pitchFamily="34" charset="0"/>
      <a:buChar char="–"/>
      <a:defRPr sz="1600" kern="1200">
        <a:solidFill>
          <a:schemeClr val="accent1"/>
        </a:solidFill>
        <a:latin typeface="+mn-lt"/>
        <a:ea typeface="+mn-ea"/>
        <a:cs typeface="+mn-cs"/>
      </a:defRPr>
    </a:lvl3pPr>
    <a:lvl4pPr marL="756000" indent="-252000" algn="l" defTabSz="914400" rtl="0" eaLnBrk="1" latinLnBrk="0" hangingPunct="1">
      <a:lnSpc>
        <a:spcPct val="108000"/>
      </a:lnSpc>
      <a:spcBef>
        <a:spcPts val="0"/>
      </a:spcBef>
      <a:buClr>
        <a:schemeClr val="accent2"/>
      </a:buClr>
      <a:buFont typeface="Arial" panose="020B0604020202020204" pitchFamily="34" charset="0"/>
      <a:buChar char="–"/>
      <a:defRPr sz="1600" kern="1200">
        <a:solidFill>
          <a:schemeClr val="accent1"/>
        </a:solidFill>
        <a:latin typeface="+mn-lt"/>
        <a:ea typeface="+mn-ea"/>
        <a:cs typeface="+mn-cs"/>
      </a:defRPr>
    </a:lvl4pPr>
    <a:lvl5pPr marL="1008000" indent="-252000" algn="l" defTabSz="914400" rtl="0" eaLnBrk="1" latinLnBrk="0" hangingPunct="1">
      <a:lnSpc>
        <a:spcPct val="108000"/>
      </a:lnSpc>
      <a:spcBef>
        <a:spcPts val="0"/>
      </a:spcBef>
      <a:buClr>
        <a:schemeClr val="accent2"/>
      </a:buClr>
      <a:buFont typeface="Arial" panose="020B0604020202020204" pitchFamily="34" charset="0"/>
      <a:buChar char="–"/>
      <a:defRPr sz="1600" kern="1200">
        <a:solidFill>
          <a:schemeClr val="accent1"/>
        </a:solidFill>
        <a:latin typeface="+mn-lt"/>
        <a:ea typeface="+mn-ea"/>
        <a:cs typeface="+mn-cs"/>
      </a:defRPr>
    </a:lvl5pPr>
    <a:lvl6pPr marL="1260000" indent="-252000" algn="l" defTabSz="914400" rtl="0" eaLnBrk="1" latinLnBrk="0" hangingPunct="1">
      <a:lnSpc>
        <a:spcPts val="2000"/>
      </a:lnSpc>
      <a:spcBef>
        <a:spcPts val="0"/>
      </a:spcBef>
      <a:buClr>
        <a:schemeClr val="accent2"/>
      </a:buClr>
      <a:buFont typeface="Arial" panose="020B0604020202020204" pitchFamily="34" charset="0"/>
      <a:buChar char="–"/>
      <a:defRPr sz="1600" kern="1200">
        <a:solidFill>
          <a:schemeClr val="accent1"/>
        </a:solidFill>
        <a:latin typeface="+mn-lt"/>
        <a:ea typeface="+mn-ea"/>
        <a:cs typeface="+mn-cs"/>
      </a:defRPr>
    </a:lvl6pPr>
    <a:lvl7pPr marL="1512000" indent="-252000" algn="l" defTabSz="914400" rtl="0" eaLnBrk="1" latinLnBrk="0" hangingPunct="1">
      <a:lnSpc>
        <a:spcPct val="108000"/>
      </a:lnSpc>
      <a:spcBef>
        <a:spcPts val="0"/>
      </a:spcBef>
      <a:buClr>
        <a:schemeClr val="accent2"/>
      </a:buClr>
      <a:buFont typeface="Arial" panose="020B0604020202020204" pitchFamily="34" charset="0"/>
      <a:buChar char="–"/>
      <a:defRPr sz="1600" kern="1200">
        <a:solidFill>
          <a:schemeClr val="accent1"/>
        </a:solidFill>
        <a:latin typeface="+mn-lt"/>
        <a:ea typeface="+mn-ea"/>
        <a:cs typeface="+mn-cs"/>
      </a:defRPr>
    </a:lvl7pPr>
    <a:lvl8pPr marL="1764000" indent="-252000" algn="l" defTabSz="914400" rtl="0" eaLnBrk="1" latinLnBrk="0" hangingPunct="1">
      <a:lnSpc>
        <a:spcPct val="108000"/>
      </a:lnSpc>
      <a:spcBef>
        <a:spcPts val="0"/>
      </a:spcBef>
      <a:buClr>
        <a:schemeClr val="accent2"/>
      </a:buClr>
      <a:buFont typeface="Arial" panose="020B0604020202020204" pitchFamily="34" charset="0"/>
      <a:buChar char="–"/>
      <a:defRPr sz="1600" kern="1200">
        <a:solidFill>
          <a:schemeClr val="accent1"/>
        </a:solidFill>
        <a:latin typeface="+mn-lt"/>
        <a:ea typeface="+mn-ea"/>
        <a:cs typeface="+mn-cs"/>
      </a:defRPr>
    </a:lvl8pPr>
    <a:lvl9pPr marL="2016000" indent="-252000" algn="l" defTabSz="914400" rtl="0" eaLnBrk="1" latinLnBrk="0" hangingPunct="1">
      <a:lnSpc>
        <a:spcPct val="108000"/>
      </a:lnSpc>
      <a:spcBef>
        <a:spcPts val="0"/>
      </a:spcBef>
      <a:buClr>
        <a:schemeClr val="accent2"/>
      </a:buClr>
      <a:buFont typeface="Arial" panose="020B0604020202020204" pitchFamily="34" charset="0"/>
      <a:buChar char="–"/>
      <a:defRPr sz="1600" kern="1200">
        <a:solidFill>
          <a:schemeClr val="accent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pos="3772" userDrawn="1">
          <p15:clr>
            <a:srgbClr val="A4A3A4"/>
          </p15:clr>
        </p15:guide>
        <p15:guide id="4" pos="3908" userDrawn="1">
          <p15:clr>
            <a:srgbClr val="A4A3A4"/>
          </p15:clr>
        </p15:guide>
        <p15:guide id="5" pos="4861" userDrawn="1">
          <p15:clr>
            <a:srgbClr val="A4A3A4"/>
          </p15:clr>
        </p15:guide>
        <p15:guide id="6" pos="4997" userDrawn="1">
          <p15:clr>
            <a:srgbClr val="A4A3A4"/>
          </p15:clr>
        </p15:guide>
        <p15:guide id="7" pos="5405" userDrawn="1">
          <p15:clr>
            <a:srgbClr val="A4A3A4"/>
          </p15:clr>
        </p15:guide>
        <p15:guide id="8" pos="5541" userDrawn="1">
          <p15:clr>
            <a:srgbClr val="A4A3A4"/>
          </p15:clr>
        </p15:guide>
        <p15:guide id="9" pos="5949" userDrawn="1">
          <p15:clr>
            <a:srgbClr val="A4A3A4"/>
          </p15:clr>
        </p15:guide>
        <p15:guide id="10" pos="6085" userDrawn="1">
          <p15:clr>
            <a:srgbClr val="A4A3A4"/>
          </p15:clr>
        </p15:guide>
        <p15:guide id="11" pos="7038" userDrawn="1">
          <p15:clr>
            <a:srgbClr val="A4A3A4"/>
          </p15:clr>
        </p15:guide>
        <p15:guide id="12" pos="2819" userDrawn="1">
          <p15:clr>
            <a:srgbClr val="A4A3A4"/>
          </p15:clr>
        </p15:guide>
        <p15:guide id="13" pos="2683" userDrawn="1">
          <p15:clr>
            <a:srgbClr val="A4A3A4"/>
          </p15:clr>
        </p15:guide>
        <p15:guide id="14" pos="2275" userDrawn="1">
          <p15:clr>
            <a:srgbClr val="A4A3A4"/>
          </p15:clr>
        </p15:guide>
        <p15:guide id="15" pos="2139" userDrawn="1">
          <p15:clr>
            <a:srgbClr val="A4A3A4"/>
          </p15:clr>
        </p15:guide>
        <p15:guide id="16" pos="1731" userDrawn="1">
          <p15:clr>
            <a:srgbClr val="A4A3A4"/>
          </p15:clr>
        </p15:guide>
        <p15:guide id="17" pos="1595" userDrawn="1">
          <p15:clr>
            <a:srgbClr val="A4A3A4"/>
          </p15:clr>
        </p15:guide>
        <p15:guide id="18" pos="642" userDrawn="1">
          <p15:clr>
            <a:srgbClr val="A4A3A4"/>
          </p15:clr>
        </p15:guide>
        <p15:guide id="19" orient="horz" pos="1026" userDrawn="1">
          <p15:clr>
            <a:srgbClr val="A4A3A4"/>
          </p15:clr>
        </p15:guide>
        <p15:guide id="20" orient="horz" pos="278" userDrawn="1">
          <p15:clr>
            <a:srgbClr val="A4A3A4"/>
          </p15:clr>
        </p15:guide>
        <p15:guide id="21" orient="horz" pos="3793" userDrawn="1">
          <p15:clr>
            <a:srgbClr val="A4A3A4"/>
          </p15:clr>
        </p15:guide>
        <p15:guide id="22" orient="horz" pos="4042" userDrawn="1">
          <p15:clr>
            <a:srgbClr val="A4A3A4"/>
          </p15:clr>
        </p15:guide>
        <p15:guide id="23" orient="horz" pos="4110" userDrawn="1">
          <p15:clr>
            <a:srgbClr val="A4A3A4"/>
          </p15:clr>
        </p15:guide>
        <p15:guide id="24" orient="horz" pos="1457" userDrawn="1">
          <p15:clr>
            <a:srgbClr val="A4A3A4"/>
          </p15:clr>
        </p15:guide>
        <p15:guide id="25" orient="horz" pos="138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733E"/>
    <a:srgbClr val="208A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70" autoAdjust="0"/>
    <p:restoredTop sz="94660"/>
  </p:normalViewPr>
  <p:slideViewPr>
    <p:cSldViewPr snapToGrid="0" showGuides="1">
      <p:cViewPr varScale="1">
        <p:scale>
          <a:sx n="119" d="100"/>
          <a:sy n="119" d="100"/>
        </p:scale>
        <p:origin x="96" y="432"/>
      </p:cViewPr>
      <p:guideLst>
        <p:guide pos="3840"/>
        <p:guide pos="3772"/>
        <p:guide pos="3908"/>
        <p:guide pos="4861"/>
        <p:guide pos="4997"/>
        <p:guide pos="5405"/>
        <p:guide pos="5541"/>
        <p:guide pos="5949"/>
        <p:guide pos="6085"/>
        <p:guide pos="7038"/>
        <p:guide pos="2819"/>
        <p:guide pos="2683"/>
        <p:guide pos="2275"/>
        <p:guide pos="2139"/>
        <p:guide pos="1731"/>
        <p:guide pos="1595"/>
        <p:guide pos="642"/>
        <p:guide orient="horz" pos="1026"/>
        <p:guide orient="horz" pos="278"/>
        <p:guide orient="horz" pos="3793"/>
        <p:guide orient="horz" pos="4042"/>
        <p:guide orient="horz" pos="4110"/>
        <p:guide orient="horz" pos="1457"/>
        <p:guide orient="horz" pos="138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83D2AF-5959-44FA-AAA7-3F770813481E}" type="datetimeFigureOut">
              <a:rPr lang="de-CH" smtClean="0"/>
              <a:t>29.10.2020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708383-3718-4E06-AAFE-92AFD93AFEF3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26828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019175" y="1628775"/>
            <a:ext cx="10153650" cy="1307856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400" b="0"/>
            </a:lvl1pPr>
          </a:lstStyle>
          <a:p>
            <a:r>
              <a:rPr lang="de-CH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019175" y="3213100"/>
            <a:ext cx="10153650" cy="360362"/>
          </a:xfrm>
        </p:spPr>
        <p:txBody>
          <a:bodyPr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dirty="0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1019174" y="3573462"/>
            <a:ext cx="4968876" cy="490537"/>
          </a:xfrm>
        </p:spPr>
        <p:txBody>
          <a:bodyPr bIns="0" anchor="t" anchorCtr="0"/>
          <a:lstStyle>
            <a:lvl1pPr algn="l">
              <a:lnSpc>
                <a:spcPct val="108000"/>
              </a:lnSpc>
              <a:defRPr sz="2000"/>
            </a:lvl1pPr>
          </a:lstStyle>
          <a:p>
            <a:fld id="{E8268367-A8B1-4477-9680-CA41B331E18E}" type="datetime1">
              <a:rPr lang="de-CH" smtClean="0"/>
              <a:pPr/>
              <a:t>29.10.2020</a:t>
            </a:fld>
            <a:endParaRPr lang="de-CH" dirty="0"/>
          </a:p>
        </p:txBody>
      </p:sp>
      <p:pic>
        <p:nvPicPr>
          <p:cNvPr id="6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1119" y="5598000"/>
            <a:ext cx="2019825" cy="645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647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24" userDrawn="1">
          <p15:clr>
            <a:srgbClr val="5ACBF0"/>
          </p15:clr>
        </p15:guide>
        <p15:guide id="2" orient="horz" pos="2251" userDrawn="1">
          <p15:clr>
            <a:srgbClr val="5ACBF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019175" y="1628775"/>
            <a:ext cx="4968875" cy="576263"/>
          </a:xfrm>
          <a:noFill/>
          <a:ln w="19050">
            <a:solidFill>
              <a:schemeClr val="accent1"/>
            </a:solidFill>
          </a:ln>
        </p:spPr>
        <p:txBody>
          <a:bodyPr lIns="252000" rIns="252000" anchor="ctr" anchorCtr="0"/>
          <a:lstStyle>
            <a:lvl1pPr marL="0" indent="0">
              <a:lnSpc>
                <a:spcPct val="108000"/>
              </a:lnSpc>
              <a:buNone/>
              <a:defRPr b="1"/>
            </a:lvl1pPr>
          </a:lstStyle>
          <a:p>
            <a:pPr lvl="0"/>
            <a:r>
              <a:rPr lang="de-CH" dirty="0"/>
              <a:t>Titel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1019175" y="2312988"/>
            <a:ext cx="4968875" cy="2879725"/>
          </a:xfrm>
          <a:noFill/>
          <a:ln w="19050">
            <a:solidFill>
              <a:schemeClr val="accent1"/>
            </a:solidFill>
          </a:ln>
        </p:spPr>
        <p:txBody>
          <a:bodyPr lIns="252000" tIns="252000" rIns="252000" bIns="252000"/>
          <a:lstStyle/>
          <a:p>
            <a:pPr lvl="0"/>
            <a:r>
              <a:rPr lang="de-CH" dirty="0"/>
              <a:t>Formatvorlagen des Textmasters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203950" y="1628775"/>
            <a:ext cx="4968875" cy="576263"/>
          </a:xfrm>
          <a:noFill/>
          <a:ln w="19050">
            <a:solidFill>
              <a:schemeClr val="accent1"/>
            </a:solidFill>
          </a:ln>
        </p:spPr>
        <p:txBody>
          <a:bodyPr lIns="252000" rIns="252000" anchor="ctr" anchorCtr="0"/>
          <a:lstStyle>
            <a:lvl1pPr marL="0" indent="0">
              <a:lnSpc>
                <a:spcPct val="108000"/>
              </a:lnSpc>
              <a:buNone/>
              <a:defRPr b="1"/>
            </a:lvl1pPr>
          </a:lstStyle>
          <a:p>
            <a:pPr lvl="0"/>
            <a:r>
              <a:rPr lang="de-CH" dirty="0"/>
              <a:t>Titel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6203950" y="2312988"/>
            <a:ext cx="4968875" cy="2879725"/>
          </a:xfrm>
          <a:noFill/>
          <a:ln w="19050">
            <a:solidFill>
              <a:schemeClr val="accent1"/>
            </a:solidFill>
          </a:ln>
        </p:spPr>
        <p:txBody>
          <a:bodyPr lIns="252000" tIns="252000" rIns="252000" bIns="252000"/>
          <a:lstStyle/>
          <a:p>
            <a:pPr lvl="0"/>
            <a:r>
              <a:rPr lang="de-CH" dirty="0"/>
              <a:t>Formatvorlagen des Textmasters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B87CE114-46F4-4FD1-A509-C407ECFB4179}" type="datetime1">
              <a:rPr lang="de-CH" smtClean="0"/>
              <a:t>29.10.2020</a:t>
            </a:fld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CH" dirty="0"/>
              <a:t>Titel der Präsentation / Einheit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887869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389" userDrawn="1">
          <p15:clr>
            <a:srgbClr val="5ACBF0"/>
          </p15:clr>
        </p15:guide>
        <p15:guide id="3" orient="horz" pos="1457" userDrawn="1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en 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019175" y="1628774"/>
            <a:ext cx="4968875" cy="576263"/>
          </a:xfrm>
          <a:solidFill>
            <a:schemeClr val="bg2"/>
          </a:solidFill>
          <a:ln w="19050">
            <a:noFill/>
          </a:ln>
        </p:spPr>
        <p:txBody>
          <a:bodyPr lIns="252000" rIns="252000" anchor="ctr" anchorCtr="0"/>
          <a:lstStyle>
            <a:lvl1pPr marL="0" indent="0">
              <a:lnSpc>
                <a:spcPct val="108000"/>
              </a:lnSpc>
              <a:buNone/>
              <a:defRPr b="1"/>
            </a:lvl1pPr>
          </a:lstStyle>
          <a:p>
            <a:pPr lvl="0"/>
            <a:r>
              <a:rPr lang="de-CH" dirty="0"/>
              <a:t>Titel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1019175" y="2312988"/>
            <a:ext cx="4968875" cy="2879725"/>
          </a:xfrm>
          <a:solidFill>
            <a:schemeClr val="bg2"/>
          </a:solidFill>
          <a:ln w="19050">
            <a:noFill/>
          </a:ln>
        </p:spPr>
        <p:txBody>
          <a:bodyPr lIns="252000" tIns="252000" rIns="252000" bIns="252000"/>
          <a:lstStyle/>
          <a:p>
            <a:pPr lvl="0"/>
            <a:r>
              <a:rPr lang="de-CH" dirty="0"/>
              <a:t>Formatvorlagen des Textmasters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203950" y="1628775"/>
            <a:ext cx="4968875" cy="576262"/>
          </a:xfrm>
          <a:solidFill>
            <a:schemeClr val="bg2"/>
          </a:solidFill>
          <a:ln w="19050">
            <a:noFill/>
          </a:ln>
        </p:spPr>
        <p:txBody>
          <a:bodyPr lIns="252000" rIns="252000" anchor="ctr" anchorCtr="0"/>
          <a:lstStyle>
            <a:lvl1pPr marL="0" indent="0">
              <a:lnSpc>
                <a:spcPct val="108000"/>
              </a:lnSpc>
              <a:buNone/>
              <a:defRPr b="1"/>
            </a:lvl1pPr>
          </a:lstStyle>
          <a:p>
            <a:pPr lvl="0"/>
            <a:r>
              <a:rPr lang="de-CH" dirty="0"/>
              <a:t>Titel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6203950" y="2312988"/>
            <a:ext cx="4968875" cy="2879725"/>
          </a:xfrm>
          <a:solidFill>
            <a:schemeClr val="bg2"/>
          </a:solidFill>
          <a:ln w="19050">
            <a:noFill/>
          </a:ln>
        </p:spPr>
        <p:txBody>
          <a:bodyPr lIns="252000" tIns="252000" rIns="252000" bIns="252000"/>
          <a:lstStyle/>
          <a:p>
            <a:pPr lvl="0"/>
            <a:r>
              <a:rPr lang="de-CH" dirty="0"/>
              <a:t>Formatvorlagen des Textmasters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F972F1B-D133-43CD-8739-5CEAD3ABF83E}" type="datetime1">
              <a:rPr lang="de-CH" smtClean="0"/>
              <a:t>29.10.2020</a:t>
            </a:fld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CH" dirty="0"/>
              <a:t>Titel der Präsentation / Einheit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68458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389" userDrawn="1">
          <p15:clr>
            <a:srgbClr val="5ACBF0"/>
          </p15:clr>
        </p15:guide>
        <p15:guide id="3" orient="horz" pos="1457" userDrawn="1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Titelmasterformat durch Klicken bearbeite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1017589" y="1628775"/>
            <a:ext cx="3240088" cy="4392613"/>
          </a:xfrm>
        </p:spPr>
        <p:txBody>
          <a:bodyPr/>
          <a:lstStyle/>
          <a:p>
            <a:pPr lvl="0"/>
            <a:r>
              <a:rPr lang="de-CH" dirty="0"/>
              <a:t>Formatvorlagen des Textmasters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4473577" y="1628775"/>
            <a:ext cx="3241674" cy="4392613"/>
          </a:xfrm>
        </p:spPr>
        <p:txBody>
          <a:bodyPr/>
          <a:lstStyle/>
          <a:p>
            <a:pPr lvl="0"/>
            <a:r>
              <a:rPr lang="de-CH" dirty="0"/>
              <a:t>Formatvorlagen des Textmasters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2AB1519-6174-4942-BAE6-B9994255C374}" type="datetime1">
              <a:rPr lang="de-CH" smtClean="0"/>
              <a:t>29.10.2020</a:t>
            </a:fld>
            <a:endParaRPr lang="de-CH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CH" dirty="0"/>
              <a:t>Titel der Präsentation / Einheit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1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7931151" y="1628775"/>
            <a:ext cx="3241674" cy="4392613"/>
          </a:xfrm>
        </p:spPr>
        <p:txBody>
          <a:bodyPr/>
          <a:lstStyle/>
          <a:p>
            <a:pPr lvl="0"/>
            <a:r>
              <a:rPr lang="de-CH" dirty="0"/>
              <a:t>Formatvorlagen des Textmasters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907185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Titelmasterformat durch Klicken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E72F82-CD3D-4946-BBC9-F80E6CE2B88B}" type="datetime1">
              <a:rPr lang="de-CH" smtClean="0"/>
              <a:t>29.10.2020</a:t>
            </a:fld>
            <a:endParaRPr lang="de-CH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CH" dirty="0"/>
              <a:t>Titel der Präsentation / Einheit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532156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A9B44E-BA67-403A-A10D-646A0197829A}" type="datetime1">
              <a:rPr lang="de-CH" smtClean="0"/>
              <a:t>29.10.2020</a:t>
            </a:fld>
            <a:endParaRPr lang="de-CH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CH" dirty="0"/>
              <a:t>Titel der Präsentation / Einh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9390298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019175" y="1628774"/>
            <a:ext cx="10153650" cy="678997"/>
          </a:xfrm>
        </p:spPr>
        <p:txBody>
          <a:bodyPr/>
          <a:lstStyle>
            <a:lvl1pPr>
              <a:lnSpc>
                <a:spcPct val="95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Titel</a:t>
            </a:r>
          </a:p>
        </p:txBody>
      </p:sp>
      <p:sp>
        <p:nvSpPr>
          <p:cNvPr id="4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019175" y="2600325"/>
            <a:ext cx="4968875" cy="265747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dirty="0"/>
              <a:t>Kontakt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1119" y="5598000"/>
            <a:ext cx="2019825" cy="645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832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38" userDrawn="1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75494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9129486" y="5544457"/>
            <a:ext cx="2345758" cy="7692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8" name="Bildplatzhalter 66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524625"/>
          </a:xfrm>
          <a:custGeom>
            <a:avLst/>
            <a:gdLst>
              <a:gd name="connsiteX0" fmla="*/ 10842420 w 12192000"/>
              <a:gd name="connsiteY0" fmla="*/ 6118756 h 6524625"/>
              <a:gd name="connsiteX1" fmla="*/ 10844417 w 12192000"/>
              <a:gd name="connsiteY1" fmla="*/ 6118756 h 6524625"/>
              <a:gd name="connsiteX2" fmla="*/ 10846413 w 12192000"/>
              <a:gd name="connsiteY2" fmla="*/ 6118756 h 6524625"/>
              <a:gd name="connsiteX3" fmla="*/ 10848285 w 12192000"/>
              <a:gd name="connsiteY3" fmla="*/ 6119123 h 6524625"/>
              <a:gd name="connsiteX4" fmla="*/ 10850157 w 12192000"/>
              <a:gd name="connsiteY4" fmla="*/ 6119489 h 6524625"/>
              <a:gd name="connsiteX5" fmla="*/ 10851779 w 12192000"/>
              <a:gd name="connsiteY5" fmla="*/ 6119978 h 6524625"/>
              <a:gd name="connsiteX6" fmla="*/ 10853526 w 12192000"/>
              <a:gd name="connsiteY6" fmla="*/ 6120711 h 6524625"/>
              <a:gd name="connsiteX7" fmla="*/ 10854899 w 12192000"/>
              <a:gd name="connsiteY7" fmla="*/ 6121688 h 6524625"/>
              <a:gd name="connsiteX8" fmla="*/ 10856147 w 12192000"/>
              <a:gd name="connsiteY8" fmla="*/ 6122666 h 6524625"/>
              <a:gd name="connsiteX9" fmla="*/ 10857395 w 12192000"/>
              <a:gd name="connsiteY9" fmla="*/ 6123643 h 6524625"/>
              <a:gd name="connsiteX10" fmla="*/ 10858393 w 12192000"/>
              <a:gd name="connsiteY10" fmla="*/ 6124864 h 6524625"/>
              <a:gd name="connsiteX11" fmla="*/ 10859391 w 12192000"/>
              <a:gd name="connsiteY11" fmla="*/ 6126208 h 6524625"/>
              <a:gd name="connsiteX12" fmla="*/ 10860265 w 12192000"/>
              <a:gd name="connsiteY12" fmla="*/ 6127552 h 6524625"/>
              <a:gd name="connsiteX13" fmla="*/ 10860889 w 12192000"/>
              <a:gd name="connsiteY13" fmla="*/ 6129018 h 6524625"/>
              <a:gd name="connsiteX14" fmla="*/ 10861388 w 12192000"/>
              <a:gd name="connsiteY14" fmla="*/ 6130606 h 6524625"/>
              <a:gd name="connsiteX15" fmla="*/ 10861762 w 12192000"/>
              <a:gd name="connsiteY15" fmla="*/ 6132194 h 6524625"/>
              <a:gd name="connsiteX16" fmla="*/ 10861887 w 12192000"/>
              <a:gd name="connsiteY16" fmla="*/ 6133782 h 6524625"/>
              <a:gd name="connsiteX17" fmla="*/ 10862012 w 12192000"/>
              <a:gd name="connsiteY17" fmla="*/ 6135615 h 6524625"/>
              <a:gd name="connsiteX18" fmla="*/ 10861887 w 12192000"/>
              <a:gd name="connsiteY18" fmla="*/ 6137203 h 6524625"/>
              <a:gd name="connsiteX19" fmla="*/ 10861762 w 12192000"/>
              <a:gd name="connsiteY19" fmla="*/ 6139036 h 6524625"/>
              <a:gd name="connsiteX20" fmla="*/ 10861388 w 12192000"/>
              <a:gd name="connsiteY20" fmla="*/ 6140624 h 6524625"/>
              <a:gd name="connsiteX21" fmla="*/ 10860889 w 12192000"/>
              <a:gd name="connsiteY21" fmla="*/ 6142090 h 6524625"/>
              <a:gd name="connsiteX22" fmla="*/ 10860265 w 12192000"/>
              <a:gd name="connsiteY22" fmla="*/ 6143678 h 6524625"/>
              <a:gd name="connsiteX23" fmla="*/ 10859391 w 12192000"/>
              <a:gd name="connsiteY23" fmla="*/ 6145022 h 6524625"/>
              <a:gd name="connsiteX24" fmla="*/ 10858393 w 12192000"/>
              <a:gd name="connsiteY24" fmla="*/ 6146243 h 6524625"/>
              <a:gd name="connsiteX25" fmla="*/ 10857395 w 12192000"/>
              <a:gd name="connsiteY25" fmla="*/ 6147465 h 6524625"/>
              <a:gd name="connsiteX26" fmla="*/ 10856147 w 12192000"/>
              <a:gd name="connsiteY26" fmla="*/ 6148564 h 6524625"/>
              <a:gd name="connsiteX27" fmla="*/ 10854899 w 12192000"/>
              <a:gd name="connsiteY27" fmla="*/ 6149419 h 6524625"/>
              <a:gd name="connsiteX28" fmla="*/ 10853526 w 12192000"/>
              <a:gd name="connsiteY28" fmla="*/ 6150275 h 6524625"/>
              <a:gd name="connsiteX29" fmla="*/ 10851904 w 12192000"/>
              <a:gd name="connsiteY29" fmla="*/ 6151008 h 6524625"/>
              <a:gd name="connsiteX30" fmla="*/ 10850157 w 12192000"/>
              <a:gd name="connsiteY30" fmla="*/ 6151618 h 6524625"/>
              <a:gd name="connsiteX31" fmla="*/ 10848410 w 12192000"/>
              <a:gd name="connsiteY31" fmla="*/ 6151985 h 6524625"/>
              <a:gd name="connsiteX32" fmla="*/ 10846538 w 12192000"/>
              <a:gd name="connsiteY32" fmla="*/ 6152229 h 6524625"/>
              <a:gd name="connsiteX33" fmla="*/ 10844417 w 12192000"/>
              <a:gd name="connsiteY33" fmla="*/ 6152229 h 6524625"/>
              <a:gd name="connsiteX34" fmla="*/ 10842420 w 12192000"/>
              <a:gd name="connsiteY34" fmla="*/ 6152229 h 6524625"/>
              <a:gd name="connsiteX35" fmla="*/ 10840423 w 12192000"/>
              <a:gd name="connsiteY35" fmla="*/ 6151985 h 6524625"/>
              <a:gd name="connsiteX36" fmla="*/ 10838676 w 12192000"/>
              <a:gd name="connsiteY36" fmla="*/ 6151618 h 6524625"/>
              <a:gd name="connsiteX37" fmla="*/ 10836929 w 12192000"/>
              <a:gd name="connsiteY37" fmla="*/ 6151008 h 6524625"/>
              <a:gd name="connsiteX38" fmla="*/ 10835432 w 12192000"/>
              <a:gd name="connsiteY38" fmla="*/ 6150275 h 6524625"/>
              <a:gd name="connsiteX39" fmla="*/ 10834059 w 12192000"/>
              <a:gd name="connsiteY39" fmla="*/ 6149419 h 6524625"/>
              <a:gd name="connsiteX40" fmla="*/ 10832686 w 12192000"/>
              <a:gd name="connsiteY40" fmla="*/ 6148564 h 6524625"/>
              <a:gd name="connsiteX41" fmla="*/ 10831563 w 12192000"/>
              <a:gd name="connsiteY41" fmla="*/ 6147465 h 6524625"/>
              <a:gd name="connsiteX42" fmla="*/ 10830440 w 12192000"/>
              <a:gd name="connsiteY42" fmla="*/ 6146243 h 6524625"/>
              <a:gd name="connsiteX43" fmla="*/ 10829442 w 12192000"/>
              <a:gd name="connsiteY43" fmla="*/ 6145022 h 6524625"/>
              <a:gd name="connsiteX44" fmla="*/ 10828693 w 12192000"/>
              <a:gd name="connsiteY44" fmla="*/ 6143678 h 6524625"/>
              <a:gd name="connsiteX45" fmla="*/ 10828069 w 12192000"/>
              <a:gd name="connsiteY45" fmla="*/ 6142090 h 6524625"/>
              <a:gd name="connsiteX46" fmla="*/ 10827570 w 12192000"/>
              <a:gd name="connsiteY46" fmla="*/ 6140624 h 6524625"/>
              <a:gd name="connsiteX47" fmla="*/ 10827196 w 12192000"/>
              <a:gd name="connsiteY47" fmla="*/ 6139036 h 6524625"/>
              <a:gd name="connsiteX48" fmla="*/ 10826946 w 12192000"/>
              <a:gd name="connsiteY48" fmla="*/ 6137203 h 6524625"/>
              <a:gd name="connsiteX49" fmla="*/ 10826946 w 12192000"/>
              <a:gd name="connsiteY49" fmla="*/ 6135615 h 6524625"/>
              <a:gd name="connsiteX50" fmla="*/ 10826946 w 12192000"/>
              <a:gd name="connsiteY50" fmla="*/ 6133782 h 6524625"/>
              <a:gd name="connsiteX51" fmla="*/ 10827196 w 12192000"/>
              <a:gd name="connsiteY51" fmla="*/ 6132194 h 6524625"/>
              <a:gd name="connsiteX52" fmla="*/ 10827570 w 12192000"/>
              <a:gd name="connsiteY52" fmla="*/ 6130606 h 6524625"/>
              <a:gd name="connsiteX53" fmla="*/ 10828069 w 12192000"/>
              <a:gd name="connsiteY53" fmla="*/ 6129018 h 6524625"/>
              <a:gd name="connsiteX54" fmla="*/ 10828693 w 12192000"/>
              <a:gd name="connsiteY54" fmla="*/ 6127552 h 6524625"/>
              <a:gd name="connsiteX55" fmla="*/ 10829442 w 12192000"/>
              <a:gd name="connsiteY55" fmla="*/ 6126208 h 6524625"/>
              <a:gd name="connsiteX56" fmla="*/ 10830440 w 12192000"/>
              <a:gd name="connsiteY56" fmla="*/ 6124864 h 6524625"/>
              <a:gd name="connsiteX57" fmla="*/ 10831563 w 12192000"/>
              <a:gd name="connsiteY57" fmla="*/ 6123643 h 6524625"/>
              <a:gd name="connsiteX58" fmla="*/ 10832686 w 12192000"/>
              <a:gd name="connsiteY58" fmla="*/ 6122666 h 6524625"/>
              <a:gd name="connsiteX59" fmla="*/ 10834059 w 12192000"/>
              <a:gd name="connsiteY59" fmla="*/ 6121688 h 6524625"/>
              <a:gd name="connsiteX60" fmla="*/ 10835432 w 12192000"/>
              <a:gd name="connsiteY60" fmla="*/ 6120711 h 6524625"/>
              <a:gd name="connsiteX61" fmla="*/ 10836929 w 12192000"/>
              <a:gd name="connsiteY61" fmla="*/ 6119978 h 6524625"/>
              <a:gd name="connsiteX62" fmla="*/ 10838676 w 12192000"/>
              <a:gd name="connsiteY62" fmla="*/ 6119489 h 6524625"/>
              <a:gd name="connsiteX63" fmla="*/ 10840423 w 12192000"/>
              <a:gd name="connsiteY63" fmla="*/ 6119123 h 6524625"/>
              <a:gd name="connsiteX64" fmla="*/ 10946325 w 12192000"/>
              <a:gd name="connsiteY64" fmla="*/ 6112380 h 6524625"/>
              <a:gd name="connsiteX65" fmla="*/ 10947647 w 12192000"/>
              <a:gd name="connsiteY65" fmla="*/ 6112380 h 6524625"/>
              <a:gd name="connsiteX66" fmla="*/ 10949089 w 12192000"/>
              <a:gd name="connsiteY66" fmla="*/ 6112380 h 6524625"/>
              <a:gd name="connsiteX67" fmla="*/ 10950290 w 12192000"/>
              <a:gd name="connsiteY67" fmla="*/ 6112649 h 6524625"/>
              <a:gd name="connsiteX68" fmla="*/ 10951492 w 12192000"/>
              <a:gd name="connsiteY68" fmla="*/ 6112917 h 6524625"/>
              <a:gd name="connsiteX69" fmla="*/ 10952814 w 12192000"/>
              <a:gd name="connsiteY69" fmla="*/ 6113320 h 6524625"/>
              <a:gd name="connsiteX70" fmla="*/ 10954016 w 12192000"/>
              <a:gd name="connsiteY70" fmla="*/ 6113722 h 6524625"/>
              <a:gd name="connsiteX71" fmla="*/ 10955097 w 12192000"/>
              <a:gd name="connsiteY71" fmla="*/ 6114394 h 6524625"/>
              <a:gd name="connsiteX72" fmla="*/ 10956299 w 12192000"/>
              <a:gd name="connsiteY72" fmla="*/ 6115065 h 6524625"/>
              <a:gd name="connsiteX73" fmla="*/ 10957260 w 12192000"/>
              <a:gd name="connsiteY73" fmla="*/ 6115736 h 6524625"/>
              <a:gd name="connsiteX74" fmla="*/ 10958222 w 12192000"/>
              <a:gd name="connsiteY74" fmla="*/ 6116810 h 6524625"/>
              <a:gd name="connsiteX75" fmla="*/ 10959063 w 12192000"/>
              <a:gd name="connsiteY75" fmla="*/ 6117749 h 6524625"/>
              <a:gd name="connsiteX76" fmla="*/ 10959904 w 12192000"/>
              <a:gd name="connsiteY76" fmla="*/ 6118823 h 6524625"/>
              <a:gd name="connsiteX77" fmla="*/ 10960625 w 12192000"/>
              <a:gd name="connsiteY77" fmla="*/ 6119897 h 6524625"/>
              <a:gd name="connsiteX78" fmla="*/ 10961226 w 12192000"/>
              <a:gd name="connsiteY78" fmla="*/ 6121239 h 6524625"/>
              <a:gd name="connsiteX79" fmla="*/ 10961707 w 12192000"/>
              <a:gd name="connsiteY79" fmla="*/ 6122447 h 6524625"/>
              <a:gd name="connsiteX80" fmla="*/ 10962188 w 12192000"/>
              <a:gd name="connsiteY80" fmla="*/ 6123789 h 6524625"/>
              <a:gd name="connsiteX81" fmla="*/ 10962428 w 12192000"/>
              <a:gd name="connsiteY81" fmla="*/ 6125131 h 6524625"/>
              <a:gd name="connsiteX82" fmla="*/ 10932144 w 12192000"/>
              <a:gd name="connsiteY82" fmla="*/ 6125131 h 6524625"/>
              <a:gd name="connsiteX83" fmla="*/ 10932505 w 12192000"/>
              <a:gd name="connsiteY83" fmla="*/ 6123655 h 6524625"/>
              <a:gd name="connsiteX84" fmla="*/ 10932985 w 12192000"/>
              <a:gd name="connsiteY84" fmla="*/ 6122313 h 6524625"/>
              <a:gd name="connsiteX85" fmla="*/ 10933466 w 12192000"/>
              <a:gd name="connsiteY85" fmla="*/ 6120970 h 6524625"/>
              <a:gd name="connsiteX86" fmla="*/ 10934067 w 12192000"/>
              <a:gd name="connsiteY86" fmla="*/ 6119628 h 6524625"/>
              <a:gd name="connsiteX87" fmla="*/ 10934908 w 12192000"/>
              <a:gd name="connsiteY87" fmla="*/ 6118554 h 6524625"/>
              <a:gd name="connsiteX88" fmla="*/ 10935749 w 12192000"/>
              <a:gd name="connsiteY88" fmla="*/ 6117481 h 6524625"/>
              <a:gd name="connsiteX89" fmla="*/ 10936590 w 12192000"/>
              <a:gd name="connsiteY89" fmla="*/ 6116541 h 6524625"/>
              <a:gd name="connsiteX90" fmla="*/ 10937552 w 12192000"/>
              <a:gd name="connsiteY90" fmla="*/ 6115602 h 6524625"/>
              <a:gd name="connsiteX91" fmla="*/ 10938754 w 12192000"/>
              <a:gd name="connsiteY91" fmla="*/ 6114796 h 6524625"/>
              <a:gd name="connsiteX92" fmla="*/ 10939835 w 12192000"/>
              <a:gd name="connsiteY92" fmla="*/ 6114125 h 6524625"/>
              <a:gd name="connsiteX93" fmla="*/ 10940917 w 12192000"/>
              <a:gd name="connsiteY93" fmla="*/ 6113588 h 6524625"/>
              <a:gd name="connsiteX94" fmla="*/ 10942239 w 12192000"/>
              <a:gd name="connsiteY94" fmla="*/ 6113186 h 6524625"/>
              <a:gd name="connsiteX95" fmla="*/ 10943561 w 12192000"/>
              <a:gd name="connsiteY95" fmla="*/ 6112783 h 6524625"/>
              <a:gd name="connsiteX96" fmla="*/ 10944762 w 12192000"/>
              <a:gd name="connsiteY96" fmla="*/ 6112514 h 6524625"/>
              <a:gd name="connsiteX97" fmla="*/ 10471165 w 12192000"/>
              <a:gd name="connsiteY97" fmla="*/ 6112380 h 6524625"/>
              <a:gd name="connsiteX98" fmla="*/ 10472721 w 12192000"/>
              <a:gd name="connsiteY98" fmla="*/ 6112380 h 6524625"/>
              <a:gd name="connsiteX99" fmla="*/ 10473918 w 12192000"/>
              <a:gd name="connsiteY99" fmla="*/ 6112380 h 6524625"/>
              <a:gd name="connsiteX100" fmla="*/ 10475235 w 12192000"/>
              <a:gd name="connsiteY100" fmla="*/ 6112649 h 6524625"/>
              <a:gd name="connsiteX101" fmla="*/ 10476551 w 12192000"/>
              <a:gd name="connsiteY101" fmla="*/ 6112917 h 6524625"/>
              <a:gd name="connsiteX102" fmla="*/ 10477748 w 12192000"/>
              <a:gd name="connsiteY102" fmla="*/ 6113320 h 6524625"/>
              <a:gd name="connsiteX103" fmla="*/ 10478826 w 12192000"/>
              <a:gd name="connsiteY103" fmla="*/ 6113722 h 6524625"/>
              <a:gd name="connsiteX104" fmla="*/ 10480023 w 12192000"/>
              <a:gd name="connsiteY104" fmla="*/ 6114394 h 6524625"/>
              <a:gd name="connsiteX105" fmla="*/ 10481100 w 12192000"/>
              <a:gd name="connsiteY105" fmla="*/ 6115065 h 6524625"/>
              <a:gd name="connsiteX106" fmla="*/ 10482177 w 12192000"/>
              <a:gd name="connsiteY106" fmla="*/ 6115736 h 6524625"/>
              <a:gd name="connsiteX107" fmla="*/ 10483015 w 12192000"/>
              <a:gd name="connsiteY107" fmla="*/ 6116810 h 6524625"/>
              <a:gd name="connsiteX108" fmla="*/ 10483973 w 12192000"/>
              <a:gd name="connsiteY108" fmla="*/ 6117749 h 6524625"/>
              <a:gd name="connsiteX109" fmla="*/ 10484811 w 12192000"/>
              <a:gd name="connsiteY109" fmla="*/ 6118823 h 6524625"/>
              <a:gd name="connsiteX110" fmla="*/ 10485529 w 12192000"/>
              <a:gd name="connsiteY110" fmla="*/ 6119897 h 6524625"/>
              <a:gd name="connsiteX111" fmla="*/ 10486127 w 12192000"/>
              <a:gd name="connsiteY111" fmla="*/ 6121239 h 6524625"/>
              <a:gd name="connsiteX112" fmla="*/ 10486606 w 12192000"/>
              <a:gd name="connsiteY112" fmla="*/ 6122447 h 6524625"/>
              <a:gd name="connsiteX113" fmla="*/ 10487085 w 12192000"/>
              <a:gd name="connsiteY113" fmla="*/ 6123789 h 6524625"/>
              <a:gd name="connsiteX114" fmla="*/ 10487444 w 12192000"/>
              <a:gd name="connsiteY114" fmla="*/ 6125131 h 6524625"/>
              <a:gd name="connsiteX115" fmla="*/ 10457160 w 12192000"/>
              <a:gd name="connsiteY115" fmla="*/ 6125131 h 6524625"/>
              <a:gd name="connsiteX116" fmla="*/ 10457399 w 12192000"/>
              <a:gd name="connsiteY116" fmla="*/ 6123655 h 6524625"/>
              <a:gd name="connsiteX117" fmla="*/ 10457878 w 12192000"/>
              <a:gd name="connsiteY117" fmla="*/ 6122313 h 6524625"/>
              <a:gd name="connsiteX118" fmla="*/ 10458596 w 12192000"/>
              <a:gd name="connsiteY118" fmla="*/ 6120970 h 6524625"/>
              <a:gd name="connsiteX119" fmla="*/ 10459195 w 12192000"/>
              <a:gd name="connsiteY119" fmla="*/ 6119628 h 6524625"/>
              <a:gd name="connsiteX120" fmla="*/ 10459913 w 12192000"/>
              <a:gd name="connsiteY120" fmla="*/ 6118554 h 6524625"/>
              <a:gd name="connsiteX121" fmla="*/ 10460751 w 12192000"/>
              <a:gd name="connsiteY121" fmla="*/ 6117481 h 6524625"/>
              <a:gd name="connsiteX122" fmla="*/ 10461709 w 12192000"/>
              <a:gd name="connsiteY122" fmla="*/ 6116541 h 6524625"/>
              <a:gd name="connsiteX123" fmla="*/ 10462666 w 12192000"/>
              <a:gd name="connsiteY123" fmla="*/ 6115602 h 6524625"/>
              <a:gd name="connsiteX124" fmla="*/ 10463624 w 12192000"/>
              <a:gd name="connsiteY124" fmla="*/ 6114796 h 6524625"/>
              <a:gd name="connsiteX125" fmla="*/ 10464701 w 12192000"/>
              <a:gd name="connsiteY125" fmla="*/ 6114125 h 6524625"/>
              <a:gd name="connsiteX126" fmla="*/ 10466018 w 12192000"/>
              <a:gd name="connsiteY126" fmla="*/ 6113588 h 6524625"/>
              <a:gd name="connsiteX127" fmla="*/ 10467215 w 12192000"/>
              <a:gd name="connsiteY127" fmla="*/ 6113186 h 6524625"/>
              <a:gd name="connsiteX128" fmla="*/ 10468412 w 12192000"/>
              <a:gd name="connsiteY128" fmla="*/ 6112783 h 6524625"/>
              <a:gd name="connsiteX129" fmla="*/ 10469848 w 12192000"/>
              <a:gd name="connsiteY129" fmla="*/ 6112514 h 6524625"/>
              <a:gd name="connsiteX130" fmla="*/ 9997774 w 12192000"/>
              <a:gd name="connsiteY130" fmla="*/ 6112380 h 6524625"/>
              <a:gd name="connsiteX131" fmla="*/ 9999330 w 12192000"/>
              <a:gd name="connsiteY131" fmla="*/ 6112380 h 6524625"/>
              <a:gd name="connsiteX132" fmla="*/ 10000527 w 12192000"/>
              <a:gd name="connsiteY132" fmla="*/ 6112380 h 6524625"/>
              <a:gd name="connsiteX133" fmla="*/ 10001844 w 12192000"/>
              <a:gd name="connsiteY133" fmla="*/ 6112649 h 6524625"/>
              <a:gd name="connsiteX134" fmla="*/ 10003160 w 12192000"/>
              <a:gd name="connsiteY134" fmla="*/ 6112917 h 6524625"/>
              <a:gd name="connsiteX135" fmla="*/ 10004357 w 12192000"/>
              <a:gd name="connsiteY135" fmla="*/ 6113320 h 6524625"/>
              <a:gd name="connsiteX136" fmla="*/ 10005435 w 12192000"/>
              <a:gd name="connsiteY136" fmla="*/ 6113722 h 6524625"/>
              <a:gd name="connsiteX137" fmla="*/ 10006751 w 12192000"/>
              <a:gd name="connsiteY137" fmla="*/ 6114394 h 6524625"/>
              <a:gd name="connsiteX138" fmla="*/ 10007709 w 12192000"/>
              <a:gd name="connsiteY138" fmla="*/ 6115065 h 6524625"/>
              <a:gd name="connsiteX139" fmla="*/ 10008786 w 12192000"/>
              <a:gd name="connsiteY139" fmla="*/ 6115736 h 6524625"/>
              <a:gd name="connsiteX140" fmla="*/ 10009624 w 12192000"/>
              <a:gd name="connsiteY140" fmla="*/ 6116810 h 6524625"/>
              <a:gd name="connsiteX141" fmla="*/ 10010582 w 12192000"/>
              <a:gd name="connsiteY141" fmla="*/ 6117749 h 6524625"/>
              <a:gd name="connsiteX142" fmla="*/ 10011420 w 12192000"/>
              <a:gd name="connsiteY142" fmla="*/ 6118823 h 6524625"/>
              <a:gd name="connsiteX143" fmla="*/ 10012138 w 12192000"/>
              <a:gd name="connsiteY143" fmla="*/ 6119897 h 6524625"/>
              <a:gd name="connsiteX144" fmla="*/ 10012736 w 12192000"/>
              <a:gd name="connsiteY144" fmla="*/ 6121239 h 6524625"/>
              <a:gd name="connsiteX145" fmla="*/ 10013215 w 12192000"/>
              <a:gd name="connsiteY145" fmla="*/ 6122447 h 6524625"/>
              <a:gd name="connsiteX146" fmla="*/ 10013694 w 12192000"/>
              <a:gd name="connsiteY146" fmla="*/ 6123789 h 6524625"/>
              <a:gd name="connsiteX147" fmla="*/ 10014053 w 12192000"/>
              <a:gd name="connsiteY147" fmla="*/ 6125131 h 6524625"/>
              <a:gd name="connsiteX148" fmla="*/ 9983769 w 12192000"/>
              <a:gd name="connsiteY148" fmla="*/ 6125131 h 6524625"/>
              <a:gd name="connsiteX149" fmla="*/ 9984008 w 12192000"/>
              <a:gd name="connsiteY149" fmla="*/ 6123655 h 6524625"/>
              <a:gd name="connsiteX150" fmla="*/ 9984487 w 12192000"/>
              <a:gd name="connsiteY150" fmla="*/ 6122313 h 6524625"/>
              <a:gd name="connsiteX151" fmla="*/ 9985205 w 12192000"/>
              <a:gd name="connsiteY151" fmla="*/ 6120970 h 6524625"/>
              <a:gd name="connsiteX152" fmla="*/ 9985804 w 12192000"/>
              <a:gd name="connsiteY152" fmla="*/ 6119628 h 6524625"/>
              <a:gd name="connsiteX153" fmla="*/ 9986522 w 12192000"/>
              <a:gd name="connsiteY153" fmla="*/ 6118554 h 6524625"/>
              <a:gd name="connsiteX154" fmla="*/ 9987360 w 12192000"/>
              <a:gd name="connsiteY154" fmla="*/ 6117481 h 6524625"/>
              <a:gd name="connsiteX155" fmla="*/ 9988318 w 12192000"/>
              <a:gd name="connsiteY155" fmla="*/ 6116541 h 6524625"/>
              <a:gd name="connsiteX156" fmla="*/ 9989275 w 12192000"/>
              <a:gd name="connsiteY156" fmla="*/ 6115602 h 6524625"/>
              <a:gd name="connsiteX157" fmla="*/ 9990233 w 12192000"/>
              <a:gd name="connsiteY157" fmla="*/ 6114796 h 6524625"/>
              <a:gd name="connsiteX158" fmla="*/ 9991430 w 12192000"/>
              <a:gd name="connsiteY158" fmla="*/ 6114125 h 6524625"/>
              <a:gd name="connsiteX159" fmla="*/ 9992627 w 12192000"/>
              <a:gd name="connsiteY159" fmla="*/ 6113588 h 6524625"/>
              <a:gd name="connsiteX160" fmla="*/ 9993824 w 12192000"/>
              <a:gd name="connsiteY160" fmla="*/ 6113186 h 6524625"/>
              <a:gd name="connsiteX161" fmla="*/ 9995021 w 12192000"/>
              <a:gd name="connsiteY161" fmla="*/ 6112783 h 6524625"/>
              <a:gd name="connsiteX162" fmla="*/ 9996457 w 12192000"/>
              <a:gd name="connsiteY162" fmla="*/ 6112514 h 6524625"/>
              <a:gd name="connsiteX163" fmla="*/ 10603799 w 12192000"/>
              <a:gd name="connsiteY163" fmla="*/ 6098034 h 6524625"/>
              <a:gd name="connsiteX164" fmla="*/ 10603799 w 12192000"/>
              <a:gd name="connsiteY164" fmla="*/ 6142654 h 6524625"/>
              <a:gd name="connsiteX165" fmla="*/ 10603799 w 12192000"/>
              <a:gd name="connsiteY165" fmla="*/ 6144836 h 6524625"/>
              <a:gd name="connsiteX166" fmla="*/ 10603921 w 12192000"/>
              <a:gd name="connsiteY166" fmla="*/ 6147140 h 6524625"/>
              <a:gd name="connsiteX167" fmla="*/ 10604164 w 12192000"/>
              <a:gd name="connsiteY167" fmla="*/ 6149080 h 6524625"/>
              <a:gd name="connsiteX168" fmla="*/ 10604529 w 12192000"/>
              <a:gd name="connsiteY168" fmla="*/ 6151020 h 6524625"/>
              <a:gd name="connsiteX169" fmla="*/ 10604894 w 12192000"/>
              <a:gd name="connsiteY169" fmla="*/ 6152839 h 6524625"/>
              <a:gd name="connsiteX170" fmla="*/ 10605381 w 12192000"/>
              <a:gd name="connsiteY170" fmla="*/ 6154779 h 6524625"/>
              <a:gd name="connsiteX171" fmla="*/ 10606111 w 12192000"/>
              <a:gd name="connsiteY171" fmla="*/ 6156355 h 6524625"/>
              <a:gd name="connsiteX172" fmla="*/ 10606841 w 12192000"/>
              <a:gd name="connsiteY172" fmla="*/ 6157931 h 6524625"/>
              <a:gd name="connsiteX173" fmla="*/ 10607571 w 12192000"/>
              <a:gd name="connsiteY173" fmla="*/ 6159507 h 6524625"/>
              <a:gd name="connsiteX174" fmla="*/ 10608423 w 12192000"/>
              <a:gd name="connsiteY174" fmla="*/ 6160841 h 6524625"/>
              <a:gd name="connsiteX175" fmla="*/ 10609274 w 12192000"/>
              <a:gd name="connsiteY175" fmla="*/ 6162175 h 6524625"/>
              <a:gd name="connsiteX176" fmla="*/ 10610491 w 12192000"/>
              <a:gd name="connsiteY176" fmla="*/ 6163509 h 6524625"/>
              <a:gd name="connsiteX177" fmla="*/ 10611464 w 12192000"/>
              <a:gd name="connsiteY177" fmla="*/ 6164721 h 6524625"/>
              <a:gd name="connsiteX178" fmla="*/ 10612681 w 12192000"/>
              <a:gd name="connsiteY178" fmla="*/ 6165691 h 6524625"/>
              <a:gd name="connsiteX179" fmla="*/ 10613898 w 12192000"/>
              <a:gd name="connsiteY179" fmla="*/ 6166904 h 6524625"/>
              <a:gd name="connsiteX180" fmla="*/ 10615236 w 12192000"/>
              <a:gd name="connsiteY180" fmla="*/ 6167752 h 6524625"/>
              <a:gd name="connsiteX181" fmla="*/ 10616575 w 12192000"/>
              <a:gd name="connsiteY181" fmla="*/ 6168601 h 6524625"/>
              <a:gd name="connsiteX182" fmla="*/ 10618035 w 12192000"/>
              <a:gd name="connsiteY182" fmla="*/ 6169450 h 6524625"/>
              <a:gd name="connsiteX183" fmla="*/ 10619495 w 12192000"/>
              <a:gd name="connsiteY183" fmla="*/ 6170177 h 6524625"/>
              <a:gd name="connsiteX184" fmla="*/ 10621076 w 12192000"/>
              <a:gd name="connsiteY184" fmla="*/ 6170784 h 6524625"/>
              <a:gd name="connsiteX185" fmla="*/ 10622658 w 12192000"/>
              <a:gd name="connsiteY185" fmla="*/ 6171511 h 6524625"/>
              <a:gd name="connsiteX186" fmla="*/ 10624362 w 12192000"/>
              <a:gd name="connsiteY186" fmla="*/ 6172117 h 6524625"/>
              <a:gd name="connsiteX187" fmla="*/ 10626065 w 12192000"/>
              <a:gd name="connsiteY187" fmla="*/ 6172602 h 6524625"/>
              <a:gd name="connsiteX188" fmla="*/ 10627768 w 12192000"/>
              <a:gd name="connsiteY188" fmla="*/ 6172966 h 6524625"/>
              <a:gd name="connsiteX189" fmla="*/ 10631662 w 12192000"/>
              <a:gd name="connsiteY189" fmla="*/ 6173694 h 6524625"/>
              <a:gd name="connsiteX190" fmla="*/ 10635434 w 12192000"/>
              <a:gd name="connsiteY190" fmla="*/ 6174178 h 6524625"/>
              <a:gd name="connsiteX191" fmla="*/ 10639449 w 12192000"/>
              <a:gd name="connsiteY191" fmla="*/ 6174421 h 6524625"/>
              <a:gd name="connsiteX192" fmla="*/ 10643586 w 12192000"/>
              <a:gd name="connsiteY192" fmla="*/ 6174542 h 6524625"/>
              <a:gd name="connsiteX193" fmla="*/ 10647723 w 12192000"/>
              <a:gd name="connsiteY193" fmla="*/ 6174421 h 6524625"/>
              <a:gd name="connsiteX194" fmla="*/ 10651738 w 12192000"/>
              <a:gd name="connsiteY194" fmla="*/ 6174178 h 6524625"/>
              <a:gd name="connsiteX195" fmla="*/ 10655631 w 12192000"/>
              <a:gd name="connsiteY195" fmla="*/ 6173694 h 6524625"/>
              <a:gd name="connsiteX196" fmla="*/ 10659281 w 12192000"/>
              <a:gd name="connsiteY196" fmla="*/ 6172966 h 6524625"/>
              <a:gd name="connsiteX197" fmla="*/ 10661106 w 12192000"/>
              <a:gd name="connsiteY197" fmla="*/ 6172602 h 6524625"/>
              <a:gd name="connsiteX198" fmla="*/ 10662810 w 12192000"/>
              <a:gd name="connsiteY198" fmla="*/ 6172117 h 6524625"/>
              <a:gd name="connsiteX199" fmla="*/ 10664392 w 12192000"/>
              <a:gd name="connsiteY199" fmla="*/ 6171511 h 6524625"/>
              <a:gd name="connsiteX200" fmla="*/ 10666095 w 12192000"/>
              <a:gd name="connsiteY200" fmla="*/ 6170784 h 6524625"/>
              <a:gd name="connsiteX201" fmla="*/ 10667555 w 12192000"/>
              <a:gd name="connsiteY201" fmla="*/ 6170177 h 6524625"/>
              <a:gd name="connsiteX202" fmla="*/ 10669137 w 12192000"/>
              <a:gd name="connsiteY202" fmla="*/ 6169450 h 6524625"/>
              <a:gd name="connsiteX203" fmla="*/ 10670597 w 12192000"/>
              <a:gd name="connsiteY203" fmla="*/ 6168601 h 6524625"/>
              <a:gd name="connsiteX204" fmla="*/ 10672057 w 12192000"/>
              <a:gd name="connsiteY204" fmla="*/ 6167752 h 6524625"/>
              <a:gd name="connsiteX205" fmla="*/ 10673274 w 12192000"/>
              <a:gd name="connsiteY205" fmla="*/ 6166904 h 6524625"/>
              <a:gd name="connsiteX206" fmla="*/ 10674490 w 12192000"/>
              <a:gd name="connsiteY206" fmla="*/ 6165691 h 6524625"/>
              <a:gd name="connsiteX207" fmla="*/ 10675707 w 12192000"/>
              <a:gd name="connsiteY207" fmla="*/ 6164721 h 6524625"/>
              <a:gd name="connsiteX208" fmla="*/ 10676802 w 12192000"/>
              <a:gd name="connsiteY208" fmla="*/ 6163509 h 6524625"/>
              <a:gd name="connsiteX209" fmla="*/ 10677775 w 12192000"/>
              <a:gd name="connsiteY209" fmla="*/ 6162175 h 6524625"/>
              <a:gd name="connsiteX210" fmla="*/ 10678627 w 12192000"/>
              <a:gd name="connsiteY210" fmla="*/ 6160841 h 6524625"/>
              <a:gd name="connsiteX211" fmla="*/ 10679600 w 12192000"/>
              <a:gd name="connsiteY211" fmla="*/ 6159507 h 6524625"/>
              <a:gd name="connsiteX212" fmla="*/ 10680452 w 12192000"/>
              <a:gd name="connsiteY212" fmla="*/ 6157931 h 6524625"/>
              <a:gd name="connsiteX213" fmla="*/ 10681061 w 12192000"/>
              <a:gd name="connsiteY213" fmla="*/ 6156355 h 6524625"/>
              <a:gd name="connsiteX214" fmla="*/ 10681669 w 12192000"/>
              <a:gd name="connsiteY214" fmla="*/ 6154779 h 6524625"/>
              <a:gd name="connsiteX215" fmla="*/ 10682156 w 12192000"/>
              <a:gd name="connsiteY215" fmla="*/ 6152839 h 6524625"/>
              <a:gd name="connsiteX216" fmla="*/ 10682642 w 12192000"/>
              <a:gd name="connsiteY216" fmla="*/ 6151020 h 6524625"/>
              <a:gd name="connsiteX217" fmla="*/ 10683007 w 12192000"/>
              <a:gd name="connsiteY217" fmla="*/ 6149080 h 6524625"/>
              <a:gd name="connsiteX218" fmla="*/ 10683251 w 12192000"/>
              <a:gd name="connsiteY218" fmla="*/ 6147140 h 6524625"/>
              <a:gd name="connsiteX219" fmla="*/ 10683372 w 12192000"/>
              <a:gd name="connsiteY219" fmla="*/ 6144836 h 6524625"/>
              <a:gd name="connsiteX220" fmla="*/ 10683494 w 12192000"/>
              <a:gd name="connsiteY220" fmla="*/ 6142654 h 6524625"/>
              <a:gd name="connsiteX221" fmla="*/ 10683494 w 12192000"/>
              <a:gd name="connsiteY221" fmla="*/ 6098034 h 6524625"/>
              <a:gd name="connsiteX222" fmla="*/ 10656848 w 12192000"/>
              <a:gd name="connsiteY222" fmla="*/ 6098034 h 6524625"/>
              <a:gd name="connsiteX223" fmla="*/ 10656848 w 12192000"/>
              <a:gd name="connsiteY223" fmla="*/ 6137683 h 6524625"/>
              <a:gd name="connsiteX224" fmla="*/ 10656848 w 12192000"/>
              <a:gd name="connsiteY224" fmla="*/ 6139380 h 6524625"/>
              <a:gd name="connsiteX225" fmla="*/ 10656726 w 12192000"/>
              <a:gd name="connsiteY225" fmla="*/ 6140956 h 6524625"/>
              <a:gd name="connsiteX226" fmla="*/ 10656605 w 12192000"/>
              <a:gd name="connsiteY226" fmla="*/ 6142654 h 6524625"/>
              <a:gd name="connsiteX227" fmla="*/ 10656361 w 12192000"/>
              <a:gd name="connsiteY227" fmla="*/ 6144109 h 6524625"/>
              <a:gd name="connsiteX228" fmla="*/ 10655996 w 12192000"/>
              <a:gd name="connsiteY228" fmla="*/ 6145443 h 6524625"/>
              <a:gd name="connsiteX229" fmla="*/ 10655509 w 12192000"/>
              <a:gd name="connsiteY229" fmla="*/ 6146898 h 6524625"/>
              <a:gd name="connsiteX230" fmla="*/ 10655023 w 12192000"/>
              <a:gd name="connsiteY230" fmla="*/ 6147989 h 6524625"/>
              <a:gd name="connsiteX231" fmla="*/ 10654414 w 12192000"/>
              <a:gd name="connsiteY231" fmla="*/ 6149080 h 6524625"/>
              <a:gd name="connsiteX232" fmla="*/ 10653441 w 12192000"/>
              <a:gd name="connsiteY232" fmla="*/ 6150171 h 6524625"/>
              <a:gd name="connsiteX233" fmla="*/ 10652589 w 12192000"/>
              <a:gd name="connsiteY233" fmla="*/ 6151141 h 6524625"/>
              <a:gd name="connsiteX234" fmla="*/ 10651494 w 12192000"/>
              <a:gd name="connsiteY234" fmla="*/ 6151869 h 6524625"/>
              <a:gd name="connsiteX235" fmla="*/ 10650399 w 12192000"/>
              <a:gd name="connsiteY235" fmla="*/ 6152475 h 6524625"/>
              <a:gd name="connsiteX236" fmla="*/ 10648818 w 12192000"/>
              <a:gd name="connsiteY236" fmla="*/ 6152960 h 6524625"/>
              <a:gd name="connsiteX237" fmla="*/ 10647357 w 12192000"/>
              <a:gd name="connsiteY237" fmla="*/ 6153324 h 6524625"/>
              <a:gd name="connsiteX238" fmla="*/ 10645532 w 12192000"/>
              <a:gd name="connsiteY238" fmla="*/ 6153566 h 6524625"/>
              <a:gd name="connsiteX239" fmla="*/ 10643586 w 12192000"/>
              <a:gd name="connsiteY239" fmla="*/ 6153566 h 6524625"/>
              <a:gd name="connsiteX240" fmla="*/ 10641639 w 12192000"/>
              <a:gd name="connsiteY240" fmla="*/ 6153566 h 6524625"/>
              <a:gd name="connsiteX241" fmla="*/ 10639936 w 12192000"/>
              <a:gd name="connsiteY241" fmla="*/ 6153324 h 6524625"/>
              <a:gd name="connsiteX242" fmla="*/ 10638232 w 12192000"/>
              <a:gd name="connsiteY242" fmla="*/ 6152960 h 6524625"/>
              <a:gd name="connsiteX243" fmla="*/ 10636894 w 12192000"/>
              <a:gd name="connsiteY243" fmla="*/ 6152475 h 6524625"/>
              <a:gd name="connsiteX244" fmla="*/ 10635677 w 12192000"/>
              <a:gd name="connsiteY244" fmla="*/ 6151869 h 6524625"/>
              <a:gd name="connsiteX245" fmla="*/ 10634460 w 12192000"/>
              <a:gd name="connsiteY245" fmla="*/ 6151141 h 6524625"/>
              <a:gd name="connsiteX246" fmla="*/ 10633609 w 12192000"/>
              <a:gd name="connsiteY246" fmla="*/ 6150171 h 6524625"/>
              <a:gd name="connsiteX247" fmla="*/ 10632879 w 12192000"/>
              <a:gd name="connsiteY247" fmla="*/ 6149080 h 6524625"/>
              <a:gd name="connsiteX248" fmla="*/ 10632149 w 12192000"/>
              <a:gd name="connsiteY248" fmla="*/ 6147989 h 6524625"/>
              <a:gd name="connsiteX249" fmla="*/ 10631662 w 12192000"/>
              <a:gd name="connsiteY249" fmla="*/ 6146898 h 6524625"/>
              <a:gd name="connsiteX250" fmla="*/ 10631053 w 12192000"/>
              <a:gd name="connsiteY250" fmla="*/ 6145443 h 6524625"/>
              <a:gd name="connsiteX251" fmla="*/ 10630810 w 12192000"/>
              <a:gd name="connsiteY251" fmla="*/ 6144109 h 6524625"/>
              <a:gd name="connsiteX252" fmla="*/ 10630567 w 12192000"/>
              <a:gd name="connsiteY252" fmla="*/ 6142654 h 6524625"/>
              <a:gd name="connsiteX253" fmla="*/ 10630323 w 12192000"/>
              <a:gd name="connsiteY253" fmla="*/ 6140956 h 6524625"/>
              <a:gd name="connsiteX254" fmla="*/ 10630323 w 12192000"/>
              <a:gd name="connsiteY254" fmla="*/ 6139380 h 6524625"/>
              <a:gd name="connsiteX255" fmla="*/ 10630202 w 12192000"/>
              <a:gd name="connsiteY255" fmla="*/ 6137683 h 6524625"/>
              <a:gd name="connsiteX256" fmla="*/ 10630202 w 12192000"/>
              <a:gd name="connsiteY256" fmla="*/ 6098034 h 6524625"/>
              <a:gd name="connsiteX257" fmla="*/ 10205322 w 12192000"/>
              <a:gd name="connsiteY257" fmla="*/ 6098034 h 6524625"/>
              <a:gd name="connsiteX258" fmla="*/ 10205322 w 12192000"/>
              <a:gd name="connsiteY258" fmla="*/ 6172948 h 6524625"/>
              <a:gd name="connsiteX259" fmla="*/ 10232418 w 12192000"/>
              <a:gd name="connsiteY259" fmla="*/ 6172948 h 6524625"/>
              <a:gd name="connsiteX260" fmla="*/ 10232418 w 12192000"/>
              <a:gd name="connsiteY260" fmla="*/ 6098034 h 6524625"/>
              <a:gd name="connsiteX261" fmla="*/ 10581293 w 12192000"/>
              <a:gd name="connsiteY261" fmla="*/ 6096441 h 6524625"/>
              <a:gd name="connsiteX262" fmla="*/ 10579474 w 12192000"/>
              <a:gd name="connsiteY262" fmla="*/ 6096565 h 6524625"/>
              <a:gd name="connsiteX263" fmla="*/ 10577533 w 12192000"/>
              <a:gd name="connsiteY263" fmla="*/ 6096688 h 6524625"/>
              <a:gd name="connsiteX264" fmla="*/ 10575714 w 12192000"/>
              <a:gd name="connsiteY264" fmla="*/ 6096935 h 6524625"/>
              <a:gd name="connsiteX265" fmla="*/ 10573895 w 12192000"/>
              <a:gd name="connsiteY265" fmla="*/ 6097305 h 6524625"/>
              <a:gd name="connsiteX266" fmla="*/ 10572197 w 12192000"/>
              <a:gd name="connsiteY266" fmla="*/ 6097675 h 6524625"/>
              <a:gd name="connsiteX267" fmla="*/ 10570499 w 12192000"/>
              <a:gd name="connsiteY267" fmla="*/ 6098169 h 6524625"/>
              <a:gd name="connsiteX268" fmla="*/ 10568923 w 12192000"/>
              <a:gd name="connsiteY268" fmla="*/ 6099033 h 6524625"/>
              <a:gd name="connsiteX269" fmla="*/ 10567225 w 12192000"/>
              <a:gd name="connsiteY269" fmla="*/ 6099773 h 6524625"/>
              <a:gd name="connsiteX270" fmla="*/ 10565770 w 12192000"/>
              <a:gd name="connsiteY270" fmla="*/ 6100637 h 6524625"/>
              <a:gd name="connsiteX271" fmla="*/ 10564314 w 12192000"/>
              <a:gd name="connsiteY271" fmla="*/ 6101501 h 6524625"/>
              <a:gd name="connsiteX272" fmla="*/ 10562980 w 12192000"/>
              <a:gd name="connsiteY272" fmla="*/ 6102611 h 6524625"/>
              <a:gd name="connsiteX273" fmla="*/ 10561646 w 12192000"/>
              <a:gd name="connsiteY273" fmla="*/ 6103845 h 6524625"/>
              <a:gd name="connsiteX274" fmla="*/ 10560434 w 12192000"/>
              <a:gd name="connsiteY274" fmla="*/ 6105203 h 6524625"/>
              <a:gd name="connsiteX275" fmla="*/ 10559221 w 12192000"/>
              <a:gd name="connsiteY275" fmla="*/ 6106560 h 6524625"/>
              <a:gd name="connsiteX276" fmla="*/ 10558251 w 12192000"/>
              <a:gd name="connsiteY276" fmla="*/ 6108164 h 6524625"/>
              <a:gd name="connsiteX277" fmla="*/ 10557159 w 12192000"/>
              <a:gd name="connsiteY277" fmla="*/ 6109892 h 6524625"/>
              <a:gd name="connsiteX278" fmla="*/ 10556917 w 12192000"/>
              <a:gd name="connsiteY278" fmla="*/ 6109892 h 6524625"/>
              <a:gd name="connsiteX279" fmla="*/ 10556917 w 12192000"/>
              <a:gd name="connsiteY279" fmla="*/ 6097428 h 6524625"/>
              <a:gd name="connsiteX280" fmla="*/ 10530479 w 12192000"/>
              <a:gd name="connsiteY280" fmla="*/ 6097428 h 6524625"/>
              <a:gd name="connsiteX281" fmla="*/ 10530479 w 12192000"/>
              <a:gd name="connsiteY281" fmla="*/ 6172949 h 6524625"/>
              <a:gd name="connsiteX282" fmla="*/ 10556917 w 12192000"/>
              <a:gd name="connsiteY282" fmla="*/ 6172949 h 6524625"/>
              <a:gd name="connsiteX283" fmla="*/ 10556917 w 12192000"/>
              <a:gd name="connsiteY283" fmla="*/ 6142469 h 6524625"/>
              <a:gd name="connsiteX284" fmla="*/ 10556917 w 12192000"/>
              <a:gd name="connsiteY284" fmla="*/ 6140001 h 6524625"/>
              <a:gd name="connsiteX285" fmla="*/ 10557038 w 12192000"/>
              <a:gd name="connsiteY285" fmla="*/ 6137780 h 6524625"/>
              <a:gd name="connsiteX286" fmla="*/ 10557281 w 12192000"/>
              <a:gd name="connsiteY286" fmla="*/ 6135559 h 6524625"/>
              <a:gd name="connsiteX287" fmla="*/ 10557766 w 12192000"/>
              <a:gd name="connsiteY287" fmla="*/ 6133461 h 6524625"/>
              <a:gd name="connsiteX288" fmla="*/ 10558251 w 12192000"/>
              <a:gd name="connsiteY288" fmla="*/ 6131487 h 6524625"/>
              <a:gd name="connsiteX289" fmla="*/ 10558857 w 12192000"/>
              <a:gd name="connsiteY289" fmla="*/ 6129636 h 6524625"/>
              <a:gd name="connsiteX290" fmla="*/ 10559585 w 12192000"/>
              <a:gd name="connsiteY290" fmla="*/ 6127785 h 6524625"/>
              <a:gd name="connsiteX291" fmla="*/ 10560555 w 12192000"/>
              <a:gd name="connsiteY291" fmla="*/ 6126181 h 6524625"/>
              <a:gd name="connsiteX292" fmla="*/ 10561768 w 12192000"/>
              <a:gd name="connsiteY292" fmla="*/ 6124823 h 6524625"/>
              <a:gd name="connsiteX293" fmla="*/ 10562980 w 12192000"/>
              <a:gd name="connsiteY293" fmla="*/ 6123466 h 6524625"/>
              <a:gd name="connsiteX294" fmla="*/ 10563708 w 12192000"/>
              <a:gd name="connsiteY294" fmla="*/ 6122849 h 6524625"/>
              <a:gd name="connsiteX295" fmla="*/ 10564436 w 12192000"/>
              <a:gd name="connsiteY295" fmla="*/ 6122355 h 6524625"/>
              <a:gd name="connsiteX296" fmla="*/ 10565285 w 12192000"/>
              <a:gd name="connsiteY296" fmla="*/ 6121862 h 6524625"/>
              <a:gd name="connsiteX297" fmla="*/ 10566134 w 12192000"/>
              <a:gd name="connsiteY297" fmla="*/ 6121491 h 6524625"/>
              <a:gd name="connsiteX298" fmla="*/ 10567104 w 12192000"/>
              <a:gd name="connsiteY298" fmla="*/ 6121121 h 6524625"/>
              <a:gd name="connsiteX299" fmla="*/ 10568074 w 12192000"/>
              <a:gd name="connsiteY299" fmla="*/ 6120751 h 6524625"/>
              <a:gd name="connsiteX300" fmla="*/ 10569165 w 12192000"/>
              <a:gd name="connsiteY300" fmla="*/ 6120504 h 6524625"/>
              <a:gd name="connsiteX301" fmla="*/ 10570257 w 12192000"/>
              <a:gd name="connsiteY301" fmla="*/ 6120257 h 6524625"/>
              <a:gd name="connsiteX302" fmla="*/ 10572561 w 12192000"/>
              <a:gd name="connsiteY302" fmla="*/ 6119764 h 6524625"/>
              <a:gd name="connsiteX303" fmla="*/ 10575108 w 12192000"/>
              <a:gd name="connsiteY303" fmla="*/ 6119640 h 6524625"/>
              <a:gd name="connsiteX304" fmla="*/ 10576684 w 12192000"/>
              <a:gd name="connsiteY304" fmla="*/ 6119640 h 6524625"/>
              <a:gd name="connsiteX305" fmla="*/ 10578140 w 12192000"/>
              <a:gd name="connsiteY305" fmla="*/ 6119764 h 6524625"/>
              <a:gd name="connsiteX306" fmla="*/ 10579595 w 12192000"/>
              <a:gd name="connsiteY306" fmla="*/ 6119887 h 6524625"/>
              <a:gd name="connsiteX307" fmla="*/ 10580929 w 12192000"/>
              <a:gd name="connsiteY307" fmla="*/ 6120257 h 6524625"/>
              <a:gd name="connsiteX308" fmla="*/ 10582263 w 12192000"/>
              <a:gd name="connsiteY308" fmla="*/ 6120504 h 6524625"/>
              <a:gd name="connsiteX309" fmla="*/ 10583718 w 12192000"/>
              <a:gd name="connsiteY309" fmla="*/ 6120998 h 6524625"/>
              <a:gd name="connsiteX310" fmla="*/ 10585052 w 12192000"/>
              <a:gd name="connsiteY310" fmla="*/ 6121491 h 6524625"/>
              <a:gd name="connsiteX311" fmla="*/ 10586265 w 12192000"/>
              <a:gd name="connsiteY311" fmla="*/ 6122232 h 6524625"/>
              <a:gd name="connsiteX312" fmla="*/ 10586265 w 12192000"/>
              <a:gd name="connsiteY312" fmla="*/ 6096441 h 6524625"/>
              <a:gd name="connsiteX313" fmla="*/ 10107793 w 12192000"/>
              <a:gd name="connsiteY313" fmla="*/ 6096441 h 6524625"/>
              <a:gd name="connsiteX314" fmla="*/ 10105977 w 12192000"/>
              <a:gd name="connsiteY314" fmla="*/ 6096565 h 6524625"/>
              <a:gd name="connsiteX315" fmla="*/ 10104041 w 12192000"/>
              <a:gd name="connsiteY315" fmla="*/ 6096688 h 6524625"/>
              <a:gd name="connsiteX316" fmla="*/ 10102105 w 12192000"/>
              <a:gd name="connsiteY316" fmla="*/ 6096935 h 6524625"/>
              <a:gd name="connsiteX317" fmla="*/ 10100411 w 12192000"/>
              <a:gd name="connsiteY317" fmla="*/ 6097305 h 6524625"/>
              <a:gd name="connsiteX318" fmla="*/ 10098717 w 12192000"/>
              <a:gd name="connsiteY318" fmla="*/ 6097675 h 6524625"/>
              <a:gd name="connsiteX319" fmla="*/ 10097023 w 12192000"/>
              <a:gd name="connsiteY319" fmla="*/ 6098169 h 6524625"/>
              <a:gd name="connsiteX320" fmla="*/ 10095449 w 12192000"/>
              <a:gd name="connsiteY320" fmla="*/ 6099033 h 6524625"/>
              <a:gd name="connsiteX321" fmla="*/ 10093755 w 12192000"/>
              <a:gd name="connsiteY321" fmla="*/ 6099773 h 6524625"/>
              <a:gd name="connsiteX322" fmla="*/ 10092303 w 12192000"/>
              <a:gd name="connsiteY322" fmla="*/ 6100637 h 6524625"/>
              <a:gd name="connsiteX323" fmla="*/ 10090851 w 12192000"/>
              <a:gd name="connsiteY323" fmla="*/ 6101501 h 6524625"/>
              <a:gd name="connsiteX324" fmla="*/ 10089520 w 12192000"/>
              <a:gd name="connsiteY324" fmla="*/ 6102611 h 6524625"/>
              <a:gd name="connsiteX325" fmla="*/ 10088310 w 12192000"/>
              <a:gd name="connsiteY325" fmla="*/ 6103845 h 6524625"/>
              <a:gd name="connsiteX326" fmla="*/ 10086979 w 12192000"/>
              <a:gd name="connsiteY326" fmla="*/ 6105203 h 6524625"/>
              <a:gd name="connsiteX327" fmla="*/ 10085769 w 12192000"/>
              <a:gd name="connsiteY327" fmla="*/ 6106560 h 6524625"/>
              <a:gd name="connsiteX328" fmla="*/ 10084800 w 12192000"/>
              <a:gd name="connsiteY328" fmla="*/ 6108164 h 6524625"/>
              <a:gd name="connsiteX329" fmla="*/ 10083711 w 12192000"/>
              <a:gd name="connsiteY329" fmla="*/ 6109892 h 6524625"/>
              <a:gd name="connsiteX330" fmla="*/ 10083469 w 12192000"/>
              <a:gd name="connsiteY330" fmla="*/ 6109892 h 6524625"/>
              <a:gd name="connsiteX331" fmla="*/ 10083469 w 12192000"/>
              <a:gd name="connsiteY331" fmla="*/ 6097428 h 6524625"/>
              <a:gd name="connsiteX332" fmla="*/ 10057089 w 12192000"/>
              <a:gd name="connsiteY332" fmla="*/ 6097428 h 6524625"/>
              <a:gd name="connsiteX333" fmla="*/ 10057089 w 12192000"/>
              <a:gd name="connsiteY333" fmla="*/ 6172949 h 6524625"/>
              <a:gd name="connsiteX334" fmla="*/ 10083469 w 12192000"/>
              <a:gd name="connsiteY334" fmla="*/ 6172949 h 6524625"/>
              <a:gd name="connsiteX335" fmla="*/ 10083469 w 12192000"/>
              <a:gd name="connsiteY335" fmla="*/ 6142469 h 6524625"/>
              <a:gd name="connsiteX336" fmla="*/ 10083469 w 12192000"/>
              <a:gd name="connsiteY336" fmla="*/ 6140001 h 6524625"/>
              <a:gd name="connsiteX337" fmla="*/ 10083590 w 12192000"/>
              <a:gd name="connsiteY337" fmla="*/ 6137780 h 6524625"/>
              <a:gd name="connsiteX338" fmla="*/ 10083832 w 12192000"/>
              <a:gd name="connsiteY338" fmla="*/ 6135559 h 6524625"/>
              <a:gd name="connsiteX339" fmla="*/ 10084316 w 12192000"/>
              <a:gd name="connsiteY339" fmla="*/ 6133461 h 6524625"/>
              <a:gd name="connsiteX340" fmla="*/ 10084800 w 12192000"/>
              <a:gd name="connsiteY340" fmla="*/ 6131487 h 6524625"/>
              <a:gd name="connsiteX341" fmla="*/ 10085406 w 12192000"/>
              <a:gd name="connsiteY341" fmla="*/ 6129636 h 6524625"/>
              <a:gd name="connsiteX342" fmla="*/ 10086132 w 12192000"/>
              <a:gd name="connsiteY342" fmla="*/ 6127785 h 6524625"/>
              <a:gd name="connsiteX343" fmla="*/ 10087100 w 12192000"/>
              <a:gd name="connsiteY343" fmla="*/ 6126181 h 6524625"/>
              <a:gd name="connsiteX344" fmla="*/ 10088310 w 12192000"/>
              <a:gd name="connsiteY344" fmla="*/ 6124823 h 6524625"/>
              <a:gd name="connsiteX345" fmla="*/ 10089520 w 12192000"/>
              <a:gd name="connsiteY345" fmla="*/ 6123466 h 6524625"/>
              <a:gd name="connsiteX346" fmla="*/ 10090246 w 12192000"/>
              <a:gd name="connsiteY346" fmla="*/ 6122849 h 6524625"/>
              <a:gd name="connsiteX347" fmla="*/ 10090972 w 12192000"/>
              <a:gd name="connsiteY347" fmla="*/ 6122355 h 6524625"/>
              <a:gd name="connsiteX348" fmla="*/ 10091819 w 12192000"/>
              <a:gd name="connsiteY348" fmla="*/ 6121862 h 6524625"/>
              <a:gd name="connsiteX349" fmla="*/ 10092666 w 12192000"/>
              <a:gd name="connsiteY349" fmla="*/ 6121491 h 6524625"/>
              <a:gd name="connsiteX350" fmla="*/ 10093634 w 12192000"/>
              <a:gd name="connsiteY350" fmla="*/ 6121121 h 6524625"/>
              <a:gd name="connsiteX351" fmla="*/ 10094481 w 12192000"/>
              <a:gd name="connsiteY351" fmla="*/ 6120751 h 6524625"/>
              <a:gd name="connsiteX352" fmla="*/ 10095691 w 12192000"/>
              <a:gd name="connsiteY352" fmla="*/ 6120504 h 6524625"/>
              <a:gd name="connsiteX353" fmla="*/ 10096781 w 12192000"/>
              <a:gd name="connsiteY353" fmla="*/ 6120257 h 6524625"/>
              <a:gd name="connsiteX354" fmla="*/ 10099080 w 12192000"/>
              <a:gd name="connsiteY354" fmla="*/ 6119764 h 6524625"/>
              <a:gd name="connsiteX355" fmla="*/ 10101621 w 12192000"/>
              <a:gd name="connsiteY355" fmla="*/ 6119640 h 6524625"/>
              <a:gd name="connsiteX356" fmla="*/ 10103194 w 12192000"/>
              <a:gd name="connsiteY356" fmla="*/ 6119640 h 6524625"/>
              <a:gd name="connsiteX357" fmla="*/ 10104646 w 12192000"/>
              <a:gd name="connsiteY357" fmla="*/ 6119764 h 6524625"/>
              <a:gd name="connsiteX358" fmla="*/ 10106098 w 12192000"/>
              <a:gd name="connsiteY358" fmla="*/ 6119887 h 6524625"/>
              <a:gd name="connsiteX359" fmla="*/ 10107430 w 12192000"/>
              <a:gd name="connsiteY359" fmla="*/ 6120257 h 6524625"/>
              <a:gd name="connsiteX360" fmla="*/ 10108761 w 12192000"/>
              <a:gd name="connsiteY360" fmla="*/ 6120504 h 6524625"/>
              <a:gd name="connsiteX361" fmla="*/ 10110213 w 12192000"/>
              <a:gd name="connsiteY361" fmla="*/ 6120998 h 6524625"/>
              <a:gd name="connsiteX362" fmla="*/ 10111544 w 12192000"/>
              <a:gd name="connsiteY362" fmla="*/ 6121491 h 6524625"/>
              <a:gd name="connsiteX363" fmla="*/ 10112875 w 12192000"/>
              <a:gd name="connsiteY363" fmla="*/ 6122232 h 6524625"/>
              <a:gd name="connsiteX364" fmla="*/ 10112875 w 12192000"/>
              <a:gd name="connsiteY364" fmla="*/ 6096441 h 6524625"/>
              <a:gd name="connsiteX365" fmla="*/ 11054828 w 12192000"/>
              <a:gd name="connsiteY365" fmla="*/ 6094847 h 6524625"/>
              <a:gd name="connsiteX366" fmla="*/ 11052986 w 12192000"/>
              <a:gd name="connsiteY366" fmla="*/ 6094971 h 6524625"/>
              <a:gd name="connsiteX367" fmla="*/ 11051144 w 12192000"/>
              <a:gd name="connsiteY367" fmla="*/ 6095219 h 6524625"/>
              <a:gd name="connsiteX368" fmla="*/ 11049425 w 12192000"/>
              <a:gd name="connsiteY368" fmla="*/ 6095466 h 6524625"/>
              <a:gd name="connsiteX369" fmla="*/ 11047706 w 12192000"/>
              <a:gd name="connsiteY369" fmla="*/ 6095837 h 6524625"/>
              <a:gd name="connsiteX370" fmla="*/ 11046110 w 12192000"/>
              <a:gd name="connsiteY370" fmla="*/ 6096209 h 6524625"/>
              <a:gd name="connsiteX371" fmla="*/ 11044513 w 12192000"/>
              <a:gd name="connsiteY371" fmla="*/ 6096828 h 6524625"/>
              <a:gd name="connsiteX372" fmla="*/ 11043040 w 12192000"/>
              <a:gd name="connsiteY372" fmla="*/ 6097447 h 6524625"/>
              <a:gd name="connsiteX373" fmla="*/ 11041566 w 12192000"/>
              <a:gd name="connsiteY373" fmla="*/ 6098189 h 6524625"/>
              <a:gd name="connsiteX374" fmla="*/ 11040093 w 12192000"/>
              <a:gd name="connsiteY374" fmla="*/ 6099179 h 6524625"/>
              <a:gd name="connsiteX375" fmla="*/ 11038865 w 12192000"/>
              <a:gd name="connsiteY375" fmla="*/ 6100170 h 6524625"/>
              <a:gd name="connsiteX376" fmla="*/ 11037391 w 12192000"/>
              <a:gd name="connsiteY376" fmla="*/ 6101284 h 6524625"/>
              <a:gd name="connsiteX377" fmla="*/ 11036163 w 12192000"/>
              <a:gd name="connsiteY377" fmla="*/ 6102398 h 6524625"/>
              <a:gd name="connsiteX378" fmla="*/ 11034935 w 12192000"/>
              <a:gd name="connsiteY378" fmla="*/ 6103883 h 6524625"/>
              <a:gd name="connsiteX379" fmla="*/ 11033707 w 12192000"/>
              <a:gd name="connsiteY379" fmla="*/ 6105368 h 6524625"/>
              <a:gd name="connsiteX380" fmla="*/ 11032479 w 12192000"/>
              <a:gd name="connsiteY380" fmla="*/ 6106977 h 6524625"/>
              <a:gd name="connsiteX381" fmla="*/ 11032234 w 12192000"/>
              <a:gd name="connsiteY381" fmla="*/ 6106977 h 6524625"/>
              <a:gd name="connsiteX382" fmla="*/ 11032234 w 12192000"/>
              <a:gd name="connsiteY382" fmla="*/ 6097199 h 6524625"/>
              <a:gd name="connsiteX383" fmla="*/ 11005464 w 12192000"/>
              <a:gd name="connsiteY383" fmla="*/ 6097199 h 6524625"/>
              <a:gd name="connsiteX384" fmla="*/ 11005464 w 12192000"/>
              <a:gd name="connsiteY384" fmla="*/ 6172949 h 6524625"/>
              <a:gd name="connsiteX385" fmla="*/ 11032234 w 12192000"/>
              <a:gd name="connsiteY385" fmla="*/ 6172949 h 6524625"/>
              <a:gd name="connsiteX386" fmla="*/ 11032234 w 12192000"/>
              <a:gd name="connsiteY386" fmla="*/ 6133713 h 6524625"/>
              <a:gd name="connsiteX387" fmla="*/ 11032234 w 12192000"/>
              <a:gd name="connsiteY387" fmla="*/ 6131856 h 6524625"/>
              <a:gd name="connsiteX388" fmla="*/ 11032356 w 12192000"/>
              <a:gd name="connsiteY388" fmla="*/ 6130247 h 6524625"/>
              <a:gd name="connsiteX389" fmla="*/ 11032602 w 12192000"/>
              <a:gd name="connsiteY389" fmla="*/ 6128514 h 6524625"/>
              <a:gd name="connsiteX390" fmla="*/ 11032848 w 12192000"/>
              <a:gd name="connsiteY390" fmla="*/ 6126905 h 6524625"/>
              <a:gd name="connsiteX391" fmla="*/ 11033216 w 12192000"/>
              <a:gd name="connsiteY391" fmla="*/ 6125420 h 6524625"/>
              <a:gd name="connsiteX392" fmla="*/ 11033707 w 12192000"/>
              <a:gd name="connsiteY392" fmla="*/ 6123934 h 6524625"/>
              <a:gd name="connsiteX393" fmla="*/ 11034444 w 12192000"/>
              <a:gd name="connsiteY393" fmla="*/ 6122573 h 6524625"/>
              <a:gd name="connsiteX394" fmla="*/ 11035181 w 12192000"/>
              <a:gd name="connsiteY394" fmla="*/ 6121335 h 6524625"/>
              <a:gd name="connsiteX395" fmla="*/ 11036040 w 12192000"/>
              <a:gd name="connsiteY395" fmla="*/ 6120345 h 6524625"/>
              <a:gd name="connsiteX396" fmla="*/ 11037023 w 12192000"/>
              <a:gd name="connsiteY396" fmla="*/ 6119107 h 6524625"/>
              <a:gd name="connsiteX397" fmla="*/ 11038251 w 12192000"/>
              <a:gd name="connsiteY397" fmla="*/ 6118241 h 6524625"/>
              <a:gd name="connsiteX398" fmla="*/ 11039479 w 12192000"/>
              <a:gd name="connsiteY398" fmla="*/ 6117622 h 6524625"/>
              <a:gd name="connsiteX399" fmla="*/ 11040829 w 12192000"/>
              <a:gd name="connsiteY399" fmla="*/ 6117003 h 6524625"/>
              <a:gd name="connsiteX400" fmla="*/ 11042549 w 12192000"/>
              <a:gd name="connsiteY400" fmla="*/ 6116508 h 6524625"/>
              <a:gd name="connsiteX401" fmla="*/ 11044268 w 12192000"/>
              <a:gd name="connsiteY401" fmla="*/ 6116260 h 6524625"/>
              <a:gd name="connsiteX402" fmla="*/ 11046355 w 12192000"/>
              <a:gd name="connsiteY402" fmla="*/ 6116137 h 6524625"/>
              <a:gd name="connsiteX403" fmla="*/ 11047460 w 12192000"/>
              <a:gd name="connsiteY403" fmla="*/ 6116260 h 6524625"/>
              <a:gd name="connsiteX404" fmla="*/ 11048566 w 12192000"/>
              <a:gd name="connsiteY404" fmla="*/ 6116384 h 6524625"/>
              <a:gd name="connsiteX405" fmla="*/ 11049671 w 12192000"/>
              <a:gd name="connsiteY405" fmla="*/ 6116508 h 6524625"/>
              <a:gd name="connsiteX406" fmla="*/ 11050653 w 12192000"/>
              <a:gd name="connsiteY406" fmla="*/ 6116755 h 6524625"/>
              <a:gd name="connsiteX407" fmla="*/ 11051513 w 12192000"/>
              <a:gd name="connsiteY407" fmla="*/ 6117003 h 6524625"/>
              <a:gd name="connsiteX408" fmla="*/ 11052250 w 12192000"/>
              <a:gd name="connsiteY408" fmla="*/ 6117374 h 6524625"/>
              <a:gd name="connsiteX409" fmla="*/ 11053109 w 12192000"/>
              <a:gd name="connsiteY409" fmla="*/ 6117746 h 6524625"/>
              <a:gd name="connsiteX410" fmla="*/ 11053846 w 12192000"/>
              <a:gd name="connsiteY410" fmla="*/ 6118241 h 6524625"/>
              <a:gd name="connsiteX411" fmla="*/ 11054337 w 12192000"/>
              <a:gd name="connsiteY411" fmla="*/ 6118736 h 6524625"/>
              <a:gd name="connsiteX412" fmla="*/ 11054951 w 12192000"/>
              <a:gd name="connsiteY412" fmla="*/ 6119231 h 6524625"/>
              <a:gd name="connsiteX413" fmla="*/ 11055442 w 12192000"/>
              <a:gd name="connsiteY413" fmla="*/ 6119850 h 6524625"/>
              <a:gd name="connsiteX414" fmla="*/ 11055933 w 12192000"/>
              <a:gd name="connsiteY414" fmla="*/ 6120592 h 6524625"/>
              <a:gd name="connsiteX415" fmla="*/ 11056793 w 12192000"/>
              <a:gd name="connsiteY415" fmla="*/ 6121954 h 6524625"/>
              <a:gd name="connsiteX416" fmla="*/ 11057284 w 12192000"/>
              <a:gd name="connsiteY416" fmla="*/ 6123315 h 6524625"/>
              <a:gd name="connsiteX417" fmla="*/ 11057775 w 12192000"/>
              <a:gd name="connsiteY417" fmla="*/ 6125048 h 6524625"/>
              <a:gd name="connsiteX418" fmla="*/ 11058021 w 12192000"/>
              <a:gd name="connsiteY418" fmla="*/ 6126534 h 6524625"/>
              <a:gd name="connsiteX419" fmla="*/ 11058267 w 12192000"/>
              <a:gd name="connsiteY419" fmla="*/ 6128143 h 6524625"/>
              <a:gd name="connsiteX420" fmla="*/ 11058389 w 12192000"/>
              <a:gd name="connsiteY420" fmla="*/ 6129876 h 6524625"/>
              <a:gd name="connsiteX421" fmla="*/ 11058389 w 12192000"/>
              <a:gd name="connsiteY421" fmla="*/ 6133217 h 6524625"/>
              <a:gd name="connsiteX422" fmla="*/ 11058389 w 12192000"/>
              <a:gd name="connsiteY422" fmla="*/ 6136064 h 6524625"/>
              <a:gd name="connsiteX423" fmla="*/ 11058389 w 12192000"/>
              <a:gd name="connsiteY423" fmla="*/ 6172949 h 6524625"/>
              <a:gd name="connsiteX424" fmla="*/ 11085159 w 12192000"/>
              <a:gd name="connsiteY424" fmla="*/ 6172949 h 6524625"/>
              <a:gd name="connsiteX425" fmla="*/ 11085159 w 12192000"/>
              <a:gd name="connsiteY425" fmla="*/ 6126162 h 6524625"/>
              <a:gd name="connsiteX426" fmla="*/ 11085036 w 12192000"/>
              <a:gd name="connsiteY426" fmla="*/ 6122697 h 6524625"/>
              <a:gd name="connsiteX427" fmla="*/ 11084791 w 12192000"/>
              <a:gd name="connsiteY427" fmla="*/ 6119478 h 6524625"/>
              <a:gd name="connsiteX428" fmla="*/ 11084299 w 12192000"/>
              <a:gd name="connsiteY428" fmla="*/ 6116384 h 6524625"/>
              <a:gd name="connsiteX429" fmla="*/ 11083563 w 12192000"/>
              <a:gd name="connsiteY429" fmla="*/ 6113413 h 6524625"/>
              <a:gd name="connsiteX430" fmla="*/ 11083194 w 12192000"/>
              <a:gd name="connsiteY430" fmla="*/ 6112052 h 6524625"/>
              <a:gd name="connsiteX431" fmla="*/ 11082703 w 12192000"/>
              <a:gd name="connsiteY431" fmla="*/ 6110690 h 6524625"/>
              <a:gd name="connsiteX432" fmla="*/ 11082089 w 12192000"/>
              <a:gd name="connsiteY432" fmla="*/ 6109329 h 6524625"/>
              <a:gd name="connsiteX433" fmla="*/ 11081475 w 12192000"/>
              <a:gd name="connsiteY433" fmla="*/ 6108091 h 6524625"/>
              <a:gd name="connsiteX434" fmla="*/ 11080861 w 12192000"/>
              <a:gd name="connsiteY434" fmla="*/ 6106853 h 6524625"/>
              <a:gd name="connsiteX435" fmla="*/ 11080124 w 12192000"/>
              <a:gd name="connsiteY435" fmla="*/ 6105739 h 6524625"/>
              <a:gd name="connsiteX436" fmla="*/ 11079388 w 12192000"/>
              <a:gd name="connsiteY436" fmla="*/ 6104625 h 6524625"/>
              <a:gd name="connsiteX437" fmla="*/ 11078651 w 12192000"/>
              <a:gd name="connsiteY437" fmla="*/ 6103511 h 6524625"/>
              <a:gd name="connsiteX438" fmla="*/ 11077668 w 12192000"/>
              <a:gd name="connsiteY438" fmla="*/ 6102521 h 6524625"/>
              <a:gd name="connsiteX439" fmla="*/ 11076686 w 12192000"/>
              <a:gd name="connsiteY439" fmla="*/ 6101531 h 6524625"/>
              <a:gd name="connsiteX440" fmla="*/ 11075704 w 12192000"/>
              <a:gd name="connsiteY440" fmla="*/ 6100665 h 6524625"/>
              <a:gd name="connsiteX441" fmla="*/ 11074598 w 12192000"/>
              <a:gd name="connsiteY441" fmla="*/ 6099922 h 6524625"/>
              <a:gd name="connsiteX442" fmla="*/ 11073493 w 12192000"/>
              <a:gd name="connsiteY442" fmla="*/ 6099056 h 6524625"/>
              <a:gd name="connsiteX443" fmla="*/ 11072388 w 12192000"/>
              <a:gd name="connsiteY443" fmla="*/ 6098313 h 6524625"/>
              <a:gd name="connsiteX444" fmla="*/ 11071037 w 12192000"/>
              <a:gd name="connsiteY444" fmla="*/ 6097694 h 6524625"/>
              <a:gd name="connsiteX445" fmla="*/ 11069687 w 12192000"/>
              <a:gd name="connsiteY445" fmla="*/ 6097075 h 6524625"/>
              <a:gd name="connsiteX446" fmla="*/ 11068336 w 12192000"/>
              <a:gd name="connsiteY446" fmla="*/ 6096580 h 6524625"/>
              <a:gd name="connsiteX447" fmla="*/ 11066862 w 12192000"/>
              <a:gd name="connsiteY447" fmla="*/ 6096085 h 6524625"/>
              <a:gd name="connsiteX448" fmla="*/ 11065389 w 12192000"/>
              <a:gd name="connsiteY448" fmla="*/ 6095714 h 6524625"/>
              <a:gd name="connsiteX449" fmla="*/ 11063915 w 12192000"/>
              <a:gd name="connsiteY449" fmla="*/ 6095466 h 6524625"/>
              <a:gd name="connsiteX450" fmla="*/ 11062073 w 12192000"/>
              <a:gd name="connsiteY450" fmla="*/ 6095219 h 6524625"/>
              <a:gd name="connsiteX451" fmla="*/ 11060477 w 12192000"/>
              <a:gd name="connsiteY451" fmla="*/ 6094971 h 6524625"/>
              <a:gd name="connsiteX452" fmla="*/ 11058635 w 12192000"/>
              <a:gd name="connsiteY452" fmla="*/ 6094847 h 6524625"/>
              <a:gd name="connsiteX453" fmla="*/ 11056793 w 12192000"/>
              <a:gd name="connsiteY453" fmla="*/ 6094847 h 6524625"/>
              <a:gd name="connsiteX454" fmla="*/ 10946735 w 12192000"/>
              <a:gd name="connsiteY454" fmla="*/ 6094847 h 6524625"/>
              <a:gd name="connsiteX455" fmla="*/ 10944405 w 12192000"/>
              <a:gd name="connsiteY455" fmla="*/ 6094970 h 6524625"/>
              <a:gd name="connsiteX456" fmla="*/ 10942198 w 12192000"/>
              <a:gd name="connsiteY456" fmla="*/ 6095092 h 6524625"/>
              <a:gd name="connsiteX457" fmla="*/ 10939991 w 12192000"/>
              <a:gd name="connsiteY457" fmla="*/ 6095215 h 6524625"/>
              <a:gd name="connsiteX458" fmla="*/ 10937784 w 12192000"/>
              <a:gd name="connsiteY458" fmla="*/ 6095583 h 6524625"/>
              <a:gd name="connsiteX459" fmla="*/ 10935700 w 12192000"/>
              <a:gd name="connsiteY459" fmla="*/ 6095951 h 6524625"/>
              <a:gd name="connsiteX460" fmla="*/ 10933616 w 12192000"/>
              <a:gd name="connsiteY460" fmla="*/ 6096319 h 6524625"/>
              <a:gd name="connsiteX461" fmla="*/ 10931777 w 12192000"/>
              <a:gd name="connsiteY461" fmla="*/ 6096932 h 6524625"/>
              <a:gd name="connsiteX462" fmla="*/ 10929815 w 12192000"/>
              <a:gd name="connsiteY462" fmla="*/ 6097545 h 6524625"/>
              <a:gd name="connsiteX463" fmla="*/ 10927976 w 12192000"/>
              <a:gd name="connsiteY463" fmla="*/ 6098280 h 6524625"/>
              <a:gd name="connsiteX464" fmla="*/ 10926137 w 12192000"/>
              <a:gd name="connsiteY464" fmla="*/ 6099139 h 6524625"/>
              <a:gd name="connsiteX465" fmla="*/ 10924420 w 12192000"/>
              <a:gd name="connsiteY465" fmla="*/ 6099997 h 6524625"/>
              <a:gd name="connsiteX466" fmla="*/ 10922704 w 12192000"/>
              <a:gd name="connsiteY466" fmla="*/ 6100855 h 6524625"/>
              <a:gd name="connsiteX467" fmla="*/ 10921110 w 12192000"/>
              <a:gd name="connsiteY467" fmla="*/ 6101958 h 6524625"/>
              <a:gd name="connsiteX468" fmla="*/ 10919393 w 12192000"/>
              <a:gd name="connsiteY468" fmla="*/ 6103062 h 6524625"/>
              <a:gd name="connsiteX469" fmla="*/ 10918044 w 12192000"/>
              <a:gd name="connsiteY469" fmla="*/ 6104288 h 6524625"/>
              <a:gd name="connsiteX470" fmla="*/ 10916696 w 12192000"/>
              <a:gd name="connsiteY470" fmla="*/ 6105514 h 6524625"/>
              <a:gd name="connsiteX471" fmla="*/ 10915224 w 12192000"/>
              <a:gd name="connsiteY471" fmla="*/ 6106740 h 6524625"/>
              <a:gd name="connsiteX472" fmla="*/ 10913998 w 12192000"/>
              <a:gd name="connsiteY472" fmla="*/ 6108211 h 6524625"/>
              <a:gd name="connsiteX473" fmla="*/ 10912772 w 12192000"/>
              <a:gd name="connsiteY473" fmla="*/ 6109683 h 6524625"/>
              <a:gd name="connsiteX474" fmla="*/ 10911669 w 12192000"/>
              <a:gd name="connsiteY474" fmla="*/ 6111154 h 6524625"/>
              <a:gd name="connsiteX475" fmla="*/ 10910565 w 12192000"/>
              <a:gd name="connsiteY475" fmla="*/ 6112871 h 6524625"/>
              <a:gd name="connsiteX476" fmla="*/ 10909707 w 12192000"/>
              <a:gd name="connsiteY476" fmla="*/ 6114464 h 6524625"/>
              <a:gd name="connsiteX477" fmla="*/ 10908849 w 12192000"/>
              <a:gd name="connsiteY477" fmla="*/ 6116304 h 6524625"/>
              <a:gd name="connsiteX478" fmla="*/ 10907991 w 12192000"/>
              <a:gd name="connsiteY478" fmla="*/ 6118020 h 6524625"/>
              <a:gd name="connsiteX479" fmla="*/ 10907255 w 12192000"/>
              <a:gd name="connsiteY479" fmla="*/ 6119982 h 6524625"/>
              <a:gd name="connsiteX480" fmla="*/ 10906642 w 12192000"/>
              <a:gd name="connsiteY480" fmla="*/ 6121944 h 6524625"/>
              <a:gd name="connsiteX481" fmla="*/ 10906151 w 12192000"/>
              <a:gd name="connsiteY481" fmla="*/ 6123783 h 6524625"/>
              <a:gd name="connsiteX482" fmla="*/ 10905784 w 12192000"/>
              <a:gd name="connsiteY482" fmla="*/ 6125990 h 6524625"/>
              <a:gd name="connsiteX483" fmla="*/ 10905416 w 12192000"/>
              <a:gd name="connsiteY483" fmla="*/ 6128074 h 6524625"/>
              <a:gd name="connsiteX484" fmla="*/ 10905171 w 12192000"/>
              <a:gd name="connsiteY484" fmla="*/ 6130281 h 6524625"/>
              <a:gd name="connsiteX485" fmla="*/ 10905048 w 12192000"/>
              <a:gd name="connsiteY485" fmla="*/ 6132488 h 6524625"/>
              <a:gd name="connsiteX486" fmla="*/ 10905048 w 12192000"/>
              <a:gd name="connsiteY486" fmla="*/ 6134817 h 6524625"/>
              <a:gd name="connsiteX487" fmla="*/ 10905048 w 12192000"/>
              <a:gd name="connsiteY487" fmla="*/ 6137270 h 6524625"/>
              <a:gd name="connsiteX488" fmla="*/ 10905171 w 12192000"/>
              <a:gd name="connsiteY488" fmla="*/ 6139476 h 6524625"/>
              <a:gd name="connsiteX489" fmla="*/ 10905416 w 12192000"/>
              <a:gd name="connsiteY489" fmla="*/ 6141806 h 6524625"/>
              <a:gd name="connsiteX490" fmla="*/ 10905784 w 12192000"/>
              <a:gd name="connsiteY490" fmla="*/ 6143890 h 6524625"/>
              <a:gd name="connsiteX491" fmla="*/ 10906274 w 12192000"/>
              <a:gd name="connsiteY491" fmla="*/ 6146097 h 6524625"/>
              <a:gd name="connsiteX492" fmla="*/ 10906887 w 12192000"/>
              <a:gd name="connsiteY492" fmla="*/ 6148059 h 6524625"/>
              <a:gd name="connsiteX493" fmla="*/ 10907500 w 12192000"/>
              <a:gd name="connsiteY493" fmla="*/ 6150021 h 6524625"/>
              <a:gd name="connsiteX494" fmla="*/ 10908236 w 12192000"/>
              <a:gd name="connsiteY494" fmla="*/ 6151860 h 6524625"/>
              <a:gd name="connsiteX495" fmla="*/ 10909094 w 12192000"/>
              <a:gd name="connsiteY495" fmla="*/ 6153699 h 6524625"/>
              <a:gd name="connsiteX496" fmla="*/ 10910075 w 12192000"/>
              <a:gd name="connsiteY496" fmla="*/ 6155415 h 6524625"/>
              <a:gd name="connsiteX497" fmla="*/ 10911056 w 12192000"/>
              <a:gd name="connsiteY497" fmla="*/ 6157132 h 6524625"/>
              <a:gd name="connsiteX498" fmla="*/ 10912282 w 12192000"/>
              <a:gd name="connsiteY498" fmla="*/ 6158726 h 6524625"/>
              <a:gd name="connsiteX499" fmla="*/ 10913385 w 12192000"/>
              <a:gd name="connsiteY499" fmla="*/ 6160197 h 6524625"/>
              <a:gd name="connsiteX500" fmla="*/ 10914611 w 12192000"/>
              <a:gd name="connsiteY500" fmla="*/ 6161668 h 6524625"/>
              <a:gd name="connsiteX501" fmla="*/ 10916083 w 12192000"/>
              <a:gd name="connsiteY501" fmla="*/ 6163140 h 6524625"/>
              <a:gd name="connsiteX502" fmla="*/ 10917431 w 12192000"/>
              <a:gd name="connsiteY502" fmla="*/ 6164366 h 6524625"/>
              <a:gd name="connsiteX503" fmla="*/ 10918903 w 12192000"/>
              <a:gd name="connsiteY503" fmla="*/ 6165469 h 6524625"/>
              <a:gd name="connsiteX504" fmla="*/ 10920497 w 12192000"/>
              <a:gd name="connsiteY504" fmla="*/ 6166818 h 6524625"/>
              <a:gd name="connsiteX505" fmla="*/ 10922091 w 12192000"/>
              <a:gd name="connsiteY505" fmla="*/ 6167799 h 6524625"/>
              <a:gd name="connsiteX506" fmla="*/ 10923807 w 12192000"/>
              <a:gd name="connsiteY506" fmla="*/ 6168780 h 6524625"/>
              <a:gd name="connsiteX507" fmla="*/ 10925524 w 12192000"/>
              <a:gd name="connsiteY507" fmla="*/ 6169638 h 6524625"/>
              <a:gd name="connsiteX508" fmla="*/ 10927485 w 12192000"/>
              <a:gd name="connsiteY508" fmla="*/ 6170496 h 6524625"/>
              <a:gd name="connsiteX509" fmla="*/ 10929324 w 12192000"/>
              <a:gd name="connsiteY509" fmla="*/ 6171354 h 6524625"/>
              <a:gd name="connsiteX510" fmla="*/ 10931286 w 12192000"/>
              <a:gd name="connsiteY510" fmla="*/ 6171967 h 6524625"/>
              <a:gd name="connsiteX511" fmla="*/ 10933248 w 12192000"/>
              <a:gd name="connsiteY511" fmla="*/ 6172581 h 6524625"/>
              <a:gd name="connsiteX512" fmla="*/ 10935332 w 12192000"/>
              <a:gd name="connsiteY512" fmla="*/ 6173071 h 6524625"/>
              <a:gd name="connsiteX513" fmla="*/ 10937294 w 12192000"/>
              <a:gd name="connsiteY513" fmla="*/ 6173561 h 6524625"/>
              <a:gd name="connsiteX514" fmla="*/ 10939501 w 12192000"/>
              <a:gd name="connsiteY514" fmla="*/ 6173929 h 6524625"/>
              <a:gd name="connsiteX515" fmla="*/ 10941708 w 12192000"/>
              <a:gd name="connsiteY515" fmla="*/ 6174174 h 6524625"/>
              <a:gd name="connsiteX516" fmla="*/ 10943915 w 12192000"/>
              <a:gd name="connsiteY516" fmla="*/ 6174297 h 6524625"/>
              <a:gd name="connsiteX517" fmla="*/ 10946244 w 12192000"/>
              <a:gd name="connsiteY517" fmla="*/ 6174420 h 6524625"/>
              <a:gd name="connsiteX518" fmla="*/ 10948574 w 12192000"/>
              <a:gd name="connsiteY518" fmla="*/ 6174542 h 6524625"/>
              <a:gd name="connsiteX519" fmla="*/ 10951762 w 12192000"/>
              <a:gd name="connsiteY519" fmla="*/ 6174420 h 6524625"/>
              <a:gd name="connsiteX520" fmla="*/ 10954949 w 12192000"/>
              <a:gd name="connsiteY520" fmla="*/ 6174174 h 6524625"/>
              <a:gd name="connsiteX521" fmla="*/ 10958137 w 12192000"/>
              <a:gd name="connsiteY521" fmla="*/ 6173684 h 6524625"/>
              <a:gd name="connsiteX522" fmla="*/ 10961202 w 12192000"/>
              <a:gd name="connsiteY522" fmla="*/ 6173071 h 6524625"/>
              <a:gd name="connsiteX523" fmla="*/ 10964268 w 12192000"/>
              <a:gd name="connsiteY523" fmla="*/ 6172213 h 6524625"/>
              <a:gd name="connsiteX524" fmla="*/ 10967088 w 12192000"/>
              <a:gd name="connsiteY524" fmla="*/ 6171109 h 6524625"/>
              <a:gd name="connsiteX525" fmla="*/ 10969908 w 12192000"/>
              <a:gd name="connsiteY525" fmla="*/ 6169761 h 6524625"/>
              <a:gd name="connsiteX526" fmla="*/ 10972605 w 12192000"/>
              <a:gd name="connsiteY526" fmla="*/ 6168289 h 6524625"/>
              <a:gd name="connsiteX527" fmla="*/ 10973831 w 12192000"/>
              <a:gd name="connsiteY527" fmla="*/ 6167554 h 6524625"/>
              <a:gd name="connsiteX528" fmla="*/ 10975180 w 12192000"/>
              <a:gd name="connsiteY528" fmla="*/ 6166573 h 6524625"/>
              <a:gd name="connsiteX529" fmla="*/ 10976283 w 12192000"/>
              <a:gd name="connsiteY529" fmla="*/ 6165714 h 6524625"/>
              <a:gd name="connsiteX530" fmla="*/ 10977387 w 12192000"/>
              <a:gd name="connsiteY530" fmla="*/ 6164734 h 6524625"/>
              <a:gd name="connsiteX531" fmla="*/ 10978490 w 12192000"/>
              <a:gd name="connsiteY531" fmla="*/ 6163753 h 6524625"/>
              <a:gd name="connsiteX532" fmla="*/ 10979594 w 12192000"/>
              <a:gd name="connsiteY532" fmla="*/ 6162649 h 6524625"/>
              <a:gd name="connsiteX533" fmla="*/ 10980575 w 12192000"/>
              <a:gd name="connsiteY533" fmla="*/ 6161423 h 6524625"/>
              <a:gd name="connsiteX534" fmla="*/ 10981433 w 12192000"/>
              <a:gd name="connsiteY534" fmla="*/ 6160320 h 6524625"/>
              <a:gd name="connsiteX535" fmla="*/ 10982291 w 12192000"/>
              <a:gd name="connsiteY535" fmla="*/ 6159094 h 6524625"/>
              <a:gd name="connsiteX536" fmla="*/ 10983272 w 12192000"/>
              <a:gd name="connsiteY536" fmla="*/ 6157745 h 6524625"/>
              <a:gd name="connsiteX537" fmla="*/ 10984008 w 12192000"/>
              <a:gd name="connsiteY537" fmla="*/ 6156396 h 6524625"/>
              <a:gd name="connsiteX538" fmla="*/ 10984621 w 12192000"/>
              <a:gd name="connsiteY538" fmla="*/ 6155048 h 6524625"/>
              <a:gd name="connsiteX539" fmla="*/ 10985356 w 12192000"/>
              <a:gd name="connsiteY539" fmla="*/ 6153576 h 6524625"/>
              <a:gd name="connsiteX540" fmla="*/ 10985847 w 12192000"/>
              <a:gd name="connsiteY540" fmla="*/ 6152105 h 6524625"/>
              <a:gd name="connsiteX541" fmla="*/ 10986460 w 12192000"/>
              <a:gd name="connsiteY541" fmla="*/ 6150511 h 6524625"/>
              <a:gd name="connsiteX542" fmla="*/ 10986950 w 12192000"/>
              <a:gd name="connsiteY542" fmla="*/ 6148795 h 6524625"/>
              <a:gd name="connsiteX543" fmla="*/ 10961202 w 12192000"/>
              <a:gd name="connsiteY543" fmla="*/ 6148795 h 6524625"/>
              <a:gd name="connsiteX544" fmla="*/ 10960712 w 12192000"/>
              <a:gd name="connsiteY544" fmla="*/ 6149775 h 6524625"/>
              <a:gd name="connsiteX545" fmla="*/ 10959976 w 12192000"/>
              <a:gd name="connsiteY545" fmla="*/ 6150634 h 6524625"/>
              <a:gd name="connsiteX546" fmla="*/ 10959363 w 12192000"/>
              <a:gd name="connsiteY546" fmla="*/ 6151369 h 6524625"/>
              <a:gd name="connsiteX547" fmla="*/ 10958750 w 12192000"/>
              <a:gd name="connsiteY547" fmla="*/ 6152105 h 6524625"/>
              <a:gd name="connsiteX548" fmla="*/ 10958137 w 12192000"/>
              <a:gd name="connsiteY548" fmla="*/ 6152718 h 6524625"/>
              <a:gd name="connsiteX549" fmla="*/ 10957402 w 12192000"/>
              <a:gd name="connsiteY549" fmla="*/ 6153209 h 6524625"/>
              <a:gd name="connsiteX550" fmla="*/ 10956666 w 12192000"/>
              <a:gd name="connsiteY550" fmla="*/ 6153699 h 6524625"/>
              <a:gd name="connsiteX551" fmla="*/ 10955808 w 12192000"/>
              <a:gd name="connsiteY551" fmla="*/ 6154312 h 6524625"/>
              <a:gd name="connsiteX552" fmla="*/ 10955072 w 12192000"/>
              <a:gd name="connsiteY552" fmla="*/ 6154680 h 6524625"/>
              <a:gd name="connsiteX553" fmla="*/ 10954214 w 12192000"/>
              <a:gd name="connsiteY553" fmla="*/ 6154925 h 6524625"/>
              <a:gd name="connsiteX554" fmla="*/ 10953356 w 12192000"/>
              <a:gd name="connsiteY554" fmla="*/ 6155293 h 6524625"/>
              <a:gd name="connsiteX555" fmla="*/ 10952375 w 12192000"/>
              <a:gd name="connsiteY555" fmla="*/ 6155415 h 6524625"/>
              <a:gd name="connsiteX556" fmla="*/ 10950536 w 12192000"/>
              <a:gd name="connsiteY556" fmla="*/ 6155783 h 6524625"/>
              <a:gd name="connsiteX557" fmla="*/ 10948329 w 12192000"/>
              <a:gd name="connsiteY557" fmla="*/ 6155783 h 6524625"/>
              <a:gd name="connsiteX558" fmla="*/ 10946490 w 12192000"/>
              <a:gd name="connsiteY558" fmla="*/ 6155783 h 6524625"/>
              <a:gd name="connsiteX559" fmla="*/ 10944528 w 12192000"/>
              <a:gd name="connsiteY559" fmla="*/ 6155538 h 6524625"/>
              <a:gd name="connsiteX560" fmla="*/ 10942811 w 12192000"/>
              <a:gd name="connsiteY560" fmla="*/ 6155293 h 6524625"/>
              <a:gd name="connsiteX561" fmla="*/ 10941095 w 12192000"/>
              <a:gd name="connsiteY561" fmla="*/ 6154802 h 6524625"/>
              <a:gd name="connsiteX562" fmla="*/ 10939623 w 12192000"/>
              <a:gd name="connsiteY562" fmla="*/ 6154189 h 6524625"/>
              <a:gd name="connsiteX563" fmla="*/ 10938397 w 12192000"/>
              <a:gd name="connsiteY563" fmla="*/ 6153331 h 6524625"/>
              <a:gd name="connsiteX564" fmla="*/ 10937049 w 12192000"/>
              <a:gd name="connsiteY564" fmla="*/ 6152473 h 6524625"/>
              <a:gd name="connsiteX565" fmla="*/ 10935945 w 12192000"/>
              <a:gd name="connsiteY565" fmla="*/ 6151615 h 6524625"/>
              <a:gd name="connsiteX566" fmla="*/ 10934964 w 12192000"/>
              <a:gd name="connsiteY566" fmla="*/ 6150511 h 6524625"/>
              <a:gd name="connsiteX567" fmla="*/ 10933983 w 12192000"/>
              <a:gd name="connsiteY567" fmla="*/ 6149162 h 6524625"/>
              <a:gd name="connsiteX568" fmla="*/ 10933370 w 12192000"/>
              <a:gd name="connsiteY568" fmla="*/ 6147814 h 6524625"/>
              <a:gd name="connsiteX569" fmla="*/ 10932757 w 12192000"/>
              <a:gd name="connsiteY569" fmla="*/ 6146342 h 6524625"/>
              <a:gd name="connsiteX570" fmla="*/ 10932267 w 12192000"/>
              <a:gd name="connsiteY570" fmla="*/ 6144749 h 6524625"/>
              <a:gd name="connsiteX571" fmla="*/ 10932022 w 12192000"/>
              <a:gd name="connsiteY571" fmla="*/ 6143032 h 6524625"/>
              <a:gd name="connsiteX572" fmla="*/ 10931777 w 12192000"/>
              <a:gd name="connsiteY572" fmla="*/ 6141193 h 6524625"/>
              <a:gd name="connsiteX573" fmla="*/ 10931777 w 12192000"/>
              <a:gd name="connsiteY573" fmla="*/ 6139231 h 6524625"/>
              <a:gd name="connsiteX574" fmla="*/ 10987931 w 12192000"/>
              <a:gd name="connsiteY574" fmla="*/ 6139231 h 6524625"/>
              <a:gd name="connsiteX575" fmla="*/ 10987931 w 12192000"/>
              <a:gd name="connsiteY575" fmla="*/ 6136411 h 6524625"/>
              <a:gd name="connsiteX576" fmla="*/ 10987808 w 12192000"/>
              <a:gd name="connsiteY576" fmla="*/ 6134082 h 6524625"/>
              <a:gd name="connsiteX577" fmla="*/ 10987686 w 12192000"/>
              <a:gd name="connsiteY577" fmla="*/ 6131752 h 6524625"/>
              <a:gd name="connsiteX578" fmla="*/ 10987441 w 12192000"/>
              <a:gd name="connsiteY578" fmla="*/ 6129545 h 6524625"/>
              <a:gd name="connsiteX579" fmla="*/ 10987195 w 12192000"/>
              <a:gd name="connsiteY579" fmla="*/ 6127338 h 6524625"/>
              <a:gd name="connsiteX580" fmla="*/ 10986828 w 12192000"/>
              <a:gd name="connsiteY580" fmla="*/ 6125254 h 6524625"/>
              <a:gd name="connsiteX581" fmla="*/ 10986337 w 12192000"/>
              <a:gd name="connsiteY581" fmla="*/ 6123047 h 6524625"/>
              <a:gd name="connsiteX582" fmla="*/ 10985724 w 12192000"/>
              <a:gd name="connsiteY582" fmla="*/ 6121085 h 6524625"/>
              <a:gd name="connsiteX583" fmla="*/ 10985111 w 12192000"/>
              <a:gd name="connsiteY583" fmla="*/ 6119124 h 6524625"/>
              <a:gd name="connsiteX584" fmla="*/ 10984375 w 12192000"/>
              <a:gd name="connsiteY584" fmla="*/ 6117284 h 6524625"/>
              <a:gd name="connsiteX585" fmla="*/ 10983640 w 12192000"/>
              <a:gd name="connsiteY585" fmla="*/ 6115568 h 6524625"/>
              <a:gd name="connsiteX586" fmla="*/ 10982781 w 12192000"/>
              <a:gd name="connsiteY586" fmla="*/ 6113729 h 6524625"/>
              <a:gd name="connsiteX587" fmla="*/ 10981678 w 12192000"/>
              <a:gd name="connsiteY587" fmla="*/ 6112135 h 6524625"/>
              <a:gd name="connsiteX588" fmla="*/ 10980697 w 12192000"/>
              <a:gd name="connsiteY588" fmla="*/ 6110418 h 6524625"/>
              <a:gd name="connsiteX589" fmla="*/ 10979594 w 12192000"/>
              <a:gd name="connsiteY589" fmla="*/ 6108947 h 6524625"/>
              <a:gd name="connsiteX590" fmla="*/ 10978245 w 12192000"/>
              <a:gd name="connsiteY590" fmla="*/ 6107476 h 6524625"/>
              <a:gd name="connsiteX591" fmla="*/ 10977019 w 12192000"/>
              <a:gd name="connsiteY591" fmla="*/ 6106005 h 6524625"/>
              <a:gd name="connsiteX592" fmla="*/ 10975793 w 12192000"/>
              <a:gd name="connsiteY592" fmla="*/ 6104778 h 6524625"/>
              <a:gd name="connsiteX593" fmla="*/ 10974199 w 12192000"/>
              <a:gd name="connsiteY593" fmla="*/ 6103552 h 6524625"/>
              <a:gd name="connsiteX594" fmla="*/ 10972728 w 12192000"/>
              <a:gd name="connsiteY594" fmla="*/ 6102326 h 6524625"/>
              <a:gd name="connsiteX595" fmla="*/ 10971134 w 12192000"/>
              <a:gd name="connsiteY595" fmla="*/ 6101223 h 6524625"/>
              <a:gd name="connsiteX596" fmla="*/ 10969540 w 12192000"/>
              <a:gd name="connsiteY596" fmla="*/ 6100242 h 6524625"/>
              <a:gd name="connsiteX597" fmla="*/ 10967823 w 12192000"/>
              <a:gd name="connsiteY597" fmla="*/ 6099384 h 6524625"/>
              <a:gd name="connsiteX598" fmla="*/ 10965984 w 12192000"/>
              <a:gd name="connsiteY598" fmla="*/ 6098525 h 6524625"/>
              <a:gd name="connsiteX599" fmla="*/ 10964145 w 12192000"/>
              <a:gd name="connsiteY599" fmla="*/ 6097667 h 6524625"/>
              <a:gd name="connsiteX600" fmla="*/ 10962183 w 12192000"/>
              <a:gd name="connsiteY600" fmla="*/ 6097054 h 6524625"/>
              <a:gd name="connsiteX601" fmla="*/ 10960099 w 12192000"/>
              <a:gd name="connsiteY601" fmla="*/ 6096441 h 6524625"/>
              <a:gd name="connsiteX602" fmla="*/ 10958137 w 12192000"/>
              <a:gd name="connsiteY602" fmla="*/ 6095951 h 6524625"/>
              <a:gd name="connsiteX603" fmla="*/ 10955930 w 12192000"/>
              <a:gd name="connsiteY603" fmla="*/ 6095583 h 6524625"/>
              <a:gd name="connsiteX604" fmla="*/ 10953723 w 12192000"/>
              <a:gd name="connsiteY604" fmla="*/ 6095215 h 6524625"/>
              <a:gd name="connsiteX605" fmla="*/ 10951394 w 12192000"/>
              <a:gd name="connsiteY605" fmla="*/ 6095092 h 6524625"/>
              <a:gd name="connsiteX606" fmla="*/ 10949064 w 12192000"/>
              <a:gd name="connsiteY606" fmla="*/ 6094970 h 6524625"/>
              <a:gd name="connsiteX607" fmla="*/ 10838417 w 12192000"/>
              <a:gd name="connsiteY607" fmla="*/ 6094847 h 6524625"/>
              <a:gd name="connsiteX608" fmla="*/ 10836213 w 12192000"/>
              <a:gd name="connsiteY608" fmla="*/ 6094970 h 6524625"/>
              <a:gd name="connsiteX609" fmla="*/ 10834254 w 12192000"/>
              <a:gd name="connsiteY609" fmla="*/ 6095092 h 6524625"/>
              <a:gd name="connsiteX610" fmla="*/ 10832051 w 12192000"/>
              <a:gd name="connsiteY610" fmla="*/ 6095337 h 6524625"/>
              <a:gd name="connsiteX611" fmla="*/ 10830092 w 12192000"/>
              <a:gd name="connsiteY611" fmla="*/ 6095705 h 6524625"/>
              <a:gd name="connsiteX612" fmla="*/ 10828133 w 12192000"/>
              <a:gd name="connsiteY612" fmla="*/ 6096194 h 6524625"/>
              <a:gd name="connsiteX613" fmla="*/ 10826174 w 12192000"/>
              <a:gd name="connsiteY613" fmla="*/ 6096684 h 6524625"/>
              <a:gd name="connsiteX614" fmla="*/ 10824460 w 12192000"/>
              <a:gd name="connsiteY614" fmla="*/ 6097297 h 6524625"/>
              <a:gd name="connsiteX615" fmla="*/ 10822623 w 12192000"/>
              <a:gd name="connsiteY615" fmla="*/ 6098032 h 6524625"/>
              <a:gd name="connsiteX616" fmla="*/ 10820909 w 12192000"/>
              <a:gd name="connsiteY616" fmla="*/ 6099011 h 6524625"/>
              <a:gd name="connsiteX617" fmla="*/ 10819195 w 12192000"/>
              <a:gd name="connsiteY617" fmla="*/ 6099869 h 6524625"/>
              <a:gd name="connsiteX618" fmla="*/ 10817603 w 12192000"/>
              <a:gd name="connsiteY618" fmla="*/ 6100849 h 6524625"/>
              <a:gd name="connsiteX619" fmla="*/ 10816134 w 12192000"/>
              <a:gd name="connsiteY619" fmla="*/ 6101828 h 6524625"/>
              <a:gd name="connsiteX620" fmla="*/ 10814542 w 12192000"/>
              <a:gd name="connsiteY620" fmla="*/ 6103053 h 6524625"/>
              <a:gd name="connsiteX621" fmla="*/ 10813195 w 12192000"/>
              <a:gd name="connsiteY621" fmla="*/ 6104278 h 6524625"/>
              <a:gd name="connsiteX622" fmla="*/ 10811726 w 12192000"/>
              <a:gd name="connsiteY622" fmla="*/ 6105503 h 6524625"/>
              <a:gd name="connsiteX623" fmla="*/ 10810502 w 12192000"/>
              <a:gd name="connsiteY623" fmla="*/ 6106850 h 6524625"/>
              <a:gd name="connsiteX624" fmla="*/ 10809278 w 12192000"/>
              <a:gd name="connsiteY624" fmla="*/ 6108320 h 6524625"/>
              <a:gd name="connsiteX625" fmla="*/ 10808053 w 12192000"/>
              <a:gd name="connsiteY625" fmla="*/ 6109789 h 6524625"/>
              <a:gd name="connsiteX626" fmla="*/ 10806951 w 12192000"/>
              <a:gd name="connsiteY626" fmla="*/ 6111382 h 6524625"/>
              <a:gd name="connsiteX627" fmla="*/ 10805972 w 12192000"/>
              <a:gd name="connsiteY627" fmla="*/ 6112974 h 6524625"/>
              <a:gd name="connsiteX628" fmla="*/ 10805115 w 12192000"/>
              <a:gd name="connsiteY628" fmla="*/ 6114566 h 6524625"/>
              <a:gd name="connsiteX629" fmla="*/ 10804135 w 12192000"/>
              <a:gd name="connsiteY629" fmla="*/ 6116281 h 6524625"/>
              <a:gd name="connsiteX630" fmla="*/ 10803401 w 12192000"/>
              <a:gd name="connsiteY630" fmla="*/ 6117995 h 6524625"/>
              <a:gd name="connsiteX631" fmla="*/ 10802666 w 12192000"/>
              <a:gd name="connsiteY631" fmla="*/ 6119833 h 6524625"/>
              <a:gd name="connsiteX632" fmla="*/ 10802054 w 12192000"/>
              <a:gd name="connsiteY632" fmla="*/ 6121670 h 6524625"/>
              <a:gd name="connsiteX633" fmla="*/ 10801442 w 12192000"/>
              <a:gd name="connsiteY633" fmla="*/ 6123507 h 6524625"/>
              <a:gd name="connsiteX634" fmla="*/ 10801074 w 12192000"/>
              <a:gd name="connsiteY634" fmla="*/ 6125467 h 6524625"/>
              <a:gd name="connsiteX635" fmla="*/ 10800585 w 12192000"/>
              <a:gd name="connsiteY635" fmla="*/ 6127304 h 6524625"/>
              <a:gd name="connsiteX636" fmla="*/ 10800217 w 12192000"/>
              <a:gd name="connsiteY636" fmla="*/ 6129386 h 6524625"/>
              <a:gd name="connsiteX637" fmla="*/ 10799972 w 12192000"/>
              <a:gd name="connsiteY637" fmla="*/ 6131345 h 6524625"/>
              <a:gd name="connsiteX638" fmla="*/ 10799850 w 12192000"/>
              <a:gd name="connsiteY638" fmla="*/ 6133428 h 6524625"/>
              <a:gd name="connsiteX639" fmla="*/ 10799850 w 12192000"/>
              <a:gd name="connsiteY639" fmla="*/ 6135387 h 6524625"/>
              <a:gd name="connsiteX640" fmla="*/ 10799850 w 12192000"/>
              <a:gd name="connsiteY640" fmla="*/ 6137469 h 6524625"/>
              <a:gd name="connsiteX641" fmla="*/ 10799972 w 12192000"/>
              <a:gd name="connsiteY641" fmla="*/ 6139306 h 6524625"/>
              <a:gd name="connsiteX642" fmla="*/ 10800217 w 12192000"/>
              <a:gd name="connsiteY642" fmla="*/ 6141389 h 6524625"/>
              <a:gd name="connsiteX643" fmla="*/ 10800462 w 12192000"/>
              <a:gd name="connsiteY643" fmla="*/ 6143226 h 6524625"/>
              <a:gd name="connsiteX644" fmla="*/ 10800952 w 12192000"/>
              <a:gd name="connsiteY644" fmla="*/ 6145063 h 6524625"/>
              <a:gd name="connsiteX645" fmla="*/ 10801442 w 12192000"/>
              <a:gd name="connsiteY645" fmla="*/ 6146900 h 6524625"/>
              <a:gd name="connsiteX646" fmla="*/ 10801931 w 12192000"/>
              <a:gd name="connsiteY646" fmla="*/ 6148615 h 6524625"/>
              <a:gd name="connsiteX647" fmla="*/ 10802544 w 12192000"/>
              <a:gd name="connsiteY647" fmla="*/ 6150452 h 6524625"/>
              <a:gd name="connsiteX648" fmla="*/ 10803278 w 12192000"/>
              <a:gd name="connsiteY648" fmla="*/ 6152167 h 6524625"/>
              <a:gd name="connsiteX649" fmla="*/ 10804013 w 12192000"/>
              <a:gd name="connsiteY649" fmla="*/ 6153759 h 6524625"/>
              <a:gd name="connsiteX650" fmla="*/ 10804870 w 12192000"/>
              <a:gd name="connsiteY650" fmla="*/ 6155351 h 6524625"/>
              <a:gd name="connsiteX651" fmla="*/ 10805849 w 12192000"/>
              <a:gd name="connsiteY651" fmla="*/ 6156821 h 6524625"/>
              <a:gd name="connsiteX652" fmla="*/ 10806706 w 12192000"/>
              <a:gd name="connsiteY652" fmla="*/ 6158413 h 6524625"/>
              <a:gd name="connsiteX653" fmla="*/ 10807808 w 12192000"/>
              <a:gd name="connsiteY653" fmla="*/ 6159883 h 6524625"/>
              <a:gd name="connsiteX654" fmla="*/ 10809033 w 12192000"/>
              <a:gd name="connsiteY654" fmla="*/ 6161230 h 6524625"/>
              <a:gd name="connsiteX655" fmla="*/ 10810135 w 12192000"/>
              <a:gd name="connsiteY655" fmla="*/ 6162577 h 6524625"/>
              <a:gd name="connsiteX656" fmla="*/ 10811359 w 12192000"/>
              <a:gd name="connsiteY656" fmla="*/ 6163802 h 6524625"/>
              <a:gd name="connsiteX657" fmla="*/ 10812706 w 12192000"/>
              <a:gd name="connsiteY657" fmla="*/ 6164904 h 6524625"/>
              <a:gd name="connsiteX658" fmla="*/ 10814053 w 12192000"/>
              <a:gd name="connsiteY658" fmla="*/ 6166006 h 6524625"/>
              <a:gd name="connsiteX659" fmla="*/ 10815522 w 12192000"/>
              <a:gd name="connsiteY659" fmla="*/ 6167109 h 6524625"/>
              <a:gd name="connsiteX660" fmla="*/ 10816991 w 12192000"/>
              <a:gd name="connsiteY660" fmla="*/ 6168089 h 6524625"/>
              <a:gd name="connsiteX661" fmla="*/ 10818583 w 12192000"/>
              <a:gd name="connsiteY661" fmla="*/ 6168946 h 6524625"/>
              <a:gd name="connsiteX662" fmla="*/ 10820174 w 12192000"/>
              <a:gd name="connsiteY662" fmla="*/ 6169803 h 6524625"/>
              <a:gd name="connsiteX663" fmla="*/ 10821766 w 12192000"/>
              <a:gd name="connsiteY663" fmla="*/ 6170538 h 6524625"/>
              <a:gd name="connsiteX664" fmla="*/ 10823603 w 12192000"/>
              <a:gd name="connsiteY664" fmla="*/ 6171273 h 6524625"/>
              <a:gd name="connsiteX665" fmla="*/ 10825317 w 12192000"/>
              <a:gd name="connsiteY665" fmla="*/ 6171885 h 6524625"/>
              <a:gd name="connsiteX666" fmla="*/ 10827153 w 12192000"/>
              <a:gd name="connsiteY666" fmla="*/ 6172375 h 6524625"/>
              <a:gd name="connsiteX667" fmla="*/ 10828990 w 12192000"/>
              <a:gd name="connsiteY667" fmla="*/ 6172743 h 6524625"/>
              <a:gd name="connsiteX668" fmla="*/ 10830949 w 12192000"/>
              <a:gd name="connsiteY668" fmla="*/ 6173110 h 6524625"/>
              <a:gd name="connsiteX669" fmla="*/ 10832785 w 12192000"/>
              <a:gd name="connsiteY669" fmla="*/ 6173355 h 6524625"/>
              <a:gd name="connsiteX670" fmla="*/ 10834867 w 12192000"/>
              <a:gd name="connsiteY670" fmla="*/ 6173478 h 6524625"/>
              <a:gd name="connsiteX671" fmla="*/ 10836826 w 12192000"/>
              <a:gd name="connsiteY671" fmla="*/ 6173478 h 6524625"/>
              <a:gd name="connsiteX672" fmla="*/ 10838785 w 12192000"/>
              <a:gd name="connsiteY672" fmla="*/ 6173478 h 6524625"/>
              <a:gd name="connsiteX673" fmla="*/ 10840499 w 12192000"/>
              <a:gd name="connsiteY673" fmla="*/ 6173355 h 6524625"/>
              <a:gd name="connsiteX674" fmla="*/ 10842213 w 12192000"/>
              <a:gd name="connsiteY674" fmla="*/ 6173110 h 6524625"/>
              <a:gd name="connsiteX675" fmla="*/ 10843927 w 12192000"/>
              <a:gd name="connsiteY675" fmla="*/ 6172865 h 6524625"/>
              <a:gd name="connsiteX676" fmla="*/ 10845519 w 12192000"/>
              <a:gd name="connsiteY676" fmla="*/ 6172498 h 6524625"/>
              <a:gd name="connsiteX677" fmla="*/ 10847110 w 12192000"/>
              <a:gd name="connsiteY677" fmla="*/ 6172130 h 6524625"/>
              <a:gd name="connsiteX678" fmla="*/ 10848457 w 12192000"/>
              <a:gd name="connsiteY678" fmla="*/ 6171640 h 6524625"/>
              <a:gd name="connsiteX679" fmla="*/ 10850049 w 12192000"/>
              <a:gd name="connsiteY679" fmla="*/ 6171028 h 6524625"/>
              <a:gd name="connsiteX680" fmla="*/ 10851395 w 12192000"/>
              <a:gd name="connsiteY680" fmla="*/ 6170293 h 6524625"/>
              <a:gd name="connsiteX681" fmla="*/ 10852987 w 12192000"/>
              <a:gd name="connsiteY681" fmla="*/ 6169558 h 6524625"/>
              <a:gd name="connsiteX682" fmla="*/ 10854211 w 12192000"/>
              <a:gd name="connsiteY682" fmla="*/ 6168701 h 6524625"/>
              <a:gd name="connsiteX683" fmla="*/ 10855558 w 12192000"/>
              <a:gd name="connsiteY683" fmla="*/ 6167844 h 6524625"/>
              <a:gd name="connsiteX684" fmla="*/ 10857027 w 12192000"/>
              <a:gd name="connsiteY684" fmla="*/ 6166864 h 6524625"/>
              <a:gd name="connsiteX685" fmla="*/ 10858252 w 12192000"/>
              <a:gd name="connsiteY685" fmla="*/ 6165639 h 6524625"/>
              <a:gd name="connsiteX686" fmla="*/ 10859476 w 12192000"/>
              <a:gd name="connsiteY686" fmla="*/ 6164537 h 6524625"/>
              <a:gd name="connsiteX687" fmla="*/ 10860945 w 12192000"/>
              <a:gd name="connsiteY687" fmla="*/ 6163312 h 6524625"/>
              <a:gd name="connsiteX688" fmla="*/ 10860945 w 12192000"/>
              <a:gd name="connsiteY688" fmla="*/ 6166864 h 6524625"/>
              <a:gd name="connsiteX689" fmla="*/ 10860823 w 12192000"/>
              <a:gd name="connsiteY689" fmla="*/ 6169068 h 6524625"/>
              <a:gd name="connsiteX690" fmla="*/ 10860701 w 12192000"/>
              <a:gd name="connsiteY690" fmla="*/ 6171273 h 6524625"/>
              <a:gd name="connsiteX691" fmla="*/ 10860578 w 12192000"/>
              <a:gd name="connsiteY691" fmla="*/ 6173355 h 6524625"/>
              <a:gd name="connsiteX692" fmla="*/ 10860211 w 12192000"/>
              <a:gd name="connsiteY692" fmla="*/ 6175315 h 6524625"/>
              <a:gd name="connsiteX693" fmla="*/ 10859721 w 12192000"/>
              <a:gd name="connsiteY693" fmla="*/ 6177152 h 6524625"/>
              <a:gd name="connsiteX694" fmla="*/ 10859231 w 12192000"/>
              <a:gd name="connsiteY694" fmla="*/ 6178989 h 6524625"/>
              <a:gd name="connsiteX695" fmla="*/ 10858497 w 12192000"/>
              <a:gd name="connsiteY695" fmla="*/ 6180704 h 6524625"/>
              <a:gd name="connsiteX696" fmla="*/ 10857640 w 12192000"/>
              <a:gd name="connsiteY696" fmla="*/ 6182173 h 6524625"/>
              <a:gd name="connsiteX697" fmla="*/ 10856660 w 12192000"/>
              <a:gd name="connsiteY697" fmla="*/ 6183521 h 6524625"/>
              <a:gd name="connsiteX698" fmla="*/ 10855436 w 12192000"/>
              <a:gd name="connsiteY698" fmla="*/ 6184745 h 6524625"/>
              <a:gd name="connsiteX699" fmla="*/ 10854701 w 12192000"/>
              <a:gd name="connsiteY699" fmla="*/ 6185358 h 6524625"/>
              <a:gd name="connsiteX700" fmla="*/ 10854089 w 12192000"/>
              <a:gd name="connsiteY700" fmla="*/ 6185848 h 6524625"/>
              <a:gd name="connsiteX701" fmla="*/ 10853354 w 12192000"/>
              <a:gd name="connsiteY701" fmla="*/ 6186338 h 6524625"/>
              <a:gd name="connsiteX702" fmla="*/ 10852375 w 12192000"/>
              <a:gd name="connsiteY702" fmla="*/ 6186705 h 6524625"/>
              <a:gd name="connsiteX703" fmla="*/ 10851518 w 12192000"/>
              <a:gd name="connsiteY703" fmla="*/ 6187072 h 6524625"/>
              <a:gd name="connsiteX704" fmla="*/ 10850538 w 12192000"/>
              <a:gd name="connsiteY704" fmla="*/ 6187440 h 6524625"/>
              <a:gd name="connsiteX705" fmla="*/ 10849681 w 12192000"/>
              <a:gd name="connsiteY705" fmla="*/ 6187685 h 6524625"/>
              <a:gd name="connsiteX706" fmla="*/ 10848457 w 12192000"/>
              <a:gd name="connsiteY706" fmla="*/ 6188052 h 6524625"/>
              <a:gd name="connsiteX707" fmla="*/ 10846253 w 12192000"/>
              <a:gd name="connsiteY707" fmla="*/ 6188297 h 6524625"/>
              <a:gd name="connsiteX708" fmla="*/ 10843682 w 12192000"/>
              <a:gd name="connsiteY708" fmla="*/ 6188420 h 6524625"/>
              <a:gd name="connsiteX709" fmla="*/ 10841845 w 12192000"/>
              <a:gd name="connsiteY709" fmla="*/ 6188297 h 6524625"/>
              <a:gd name="connsiteX710" fmla="*/ 10839764 w 12192000"/>
              <a:gd name="connsiteY710" fmla="*/ 6188052 h 6524625"/>
              <a:gd name="connsiteX711" fmla="*/ 10837928 w 12192000"/>
              <a:gd name="connsiteY711" fmla="*/ 6187317 h 6524625"/>
              <a:gd name="connsiteX712" fmla="*/ 10835969 w 12192000"/>
              <a:gd name="connsiteY712" fmla="*/ 6186583 h 6524625"/>
              <a:gd name="connsiteX713" fmla="*/ 10835234 w 12192000"/>
              <a:gd name="connsiteY713" fmla="*/ 6186093 h 6524625"/>
              <a:gd name="connsiteX714" fmla="*/ 10834377 w 12192000"/>
              <a:gd name="connsiteY714" fmla="*/ 6185603 h 6524625"/>
              <a:gd name="connsiteX715" fmla="*/ 10833520 w 12192000"/>
              <a:gd name="connsiteY715" fmla="*/ 6184990 h 6524625"/>
              <a:gd name="connsiteX716" fmla="*/ 10832908 w 12192000"/>
              <a:gd name="connsiteY716" fmla="*/ 6184378 h 6524625"/>
              <a:gd name="connsiteX717" fmla="*/ 10832295 w 12192000"/>
              <a:gd name="connsiteY717" fmla="*/ 6183521 h 6524625"/>
              <a:gd name="connsiteX718" fmla="*/ 10831806 w 12192000"/>
              <a:gd name="connsiteY718" fmla="*/ 6182786 h 6524625"/>
              <a:gd name="connsiteX719" fmla="*/ 10831438 w 12192000"/>
              <a:gd name="connsiteY719" fmla="*/ 6181928 h 6524625"/>
              <a:gd name="connsiteX720" fmla="*/ 10831071 w 12192000"/>
              <a:gd name="connsiteY720" fmla="*/ 6180949 h 6524625"/>
              <a:gd name="connsiteX721" fmla="*/ 10801197 w 12192000"/>
              <a:gd name="connsiteY721" fmla="*/ 6180949 h 6524625"/>
              <a:gd name="connsiteX722" fmla="*/ 10801564 w 12192000"/>
              <a:gd name="connsiteY722" fmla="*/ 6182786 h 6524625"/>
              <a:gd name="connsiteX723" fmla="*/ 10801931 w 12192000"/>
              <a:gd name="connsiteY723" fmla="*/ 6184500 h 6524625"/>
              <a:gd name="connsiteX724" fmla="*/ 10802421 w 12192000"/>
              <a:gd name="connsiteY724" fmla="*/ 6186215 h 6524625"/>
              <a:gd name="connsiteX725" fmla="*/ 10803033 w 12192000"/>
              <a:gd name="connsiteY725" fmla="*/ 6187807 h 6524625"/>
              <a:gd name="connsiteX726" fmla="*/ 10803646 w 12192000"/>
              <a:gd name="connsiteY726" fmla="*/ 6189400 h 6524625"/>
              <a:gd name="connsiteX727" fmla="*/ 10804625 w 12192000"/>
              <a:gd name="connsiteY727" fmla="*/ 6190869 h 6524625"/>
              <a:gd name="connsiteX728" fmla="*/ 10805482 w 12192000"/>
              <a:gd name="connsiteY728" fmla="*/ 6192339 h 6524625"/>
              <a:gd name="connsiteX729" fmla="*/ 10806462 w 12192000"/>
              <a:gd name="connsiteY729" fmla="*/ 6193686 h 6524625"/>
              <a:gd name="connsiteX730" fmla="*/ 10807441 w 12192000"/>
              <a:gd name="connsiteY730" fmla="*/ 6195033 h 6524625"/>
              <a:gd name="connsiteX731" fmla="*/ 10808665 w 12192000"/>
              <a:gd name="connsiteY731" fmla="*/ 6196258 h 6524625"/>
              <a:gd name="connsiteX732" fmla="*/ 10809890 w 12192000"/>
              <a:gd name="connsiteY732" fmla="*/ 6197483 h 6524625"/>
              <a:gd name="connsiteX733" fmla="*/ 10811114 w 12192000"/>
              <a:gd name="connsiteY733" fmla="*/ 6198585 h 6524625"/>
              <a:gd name="connsiteX734" fmla="*/ 10812583 w 12192000"/>
              <a:gd name="connsiteY734" fmla="*/ 6199688 h 6524625"/>
              <a:gd name="connsiteX735" fmla="*/ 10813930 w 12192000"/>
              <a:gd name="connsiteY735" fmla="*/ 6200667 h 6524625"/>
              <a:gd name="connsiteX736" fmla="*/ 10815399 w 12192000"/>
              <a:gd name="connsiteY736" fmla="*/ 6201770 h 6524625"/>
              <a:gd name="connsiteX737" fmla="*/ 10816991 w 12192000"/>
              <a:gd name="connsiteY737" fmla="*/ 6202627 h 6524625"/>
              <a:gd name="connsiteX738" fmla="*/ 10818460 w 12192000"/>
              <a:gd name="connsiteY738" fmla="*/ 6203484 h 6524625"/>
              <a:gd name="connsiteX739" fmla="*/ 10820174 w 12192000"/>
              <a:gd name="connsiteY739" fmla="*/ 6204219 h 6524625"/>
              <a:gd name="connsiteX740" fmla="*/ 10821766 w 12192000"/>
              <a:gd name="connsiteY740" fmla="*/ 6205077 h 6524625"/>
              <a:gd name="connsiteX741" fmla="*/ 10823480 w 12192000"/>
              <a:gd name="connsiteY741" fmla="*/ 6205689 h 6524625"/>
              <a:gd name="connsiteX742" fmla="*/ 10826908 w 12192000"/>
              <a:gd name="connsiteY742" fmla="*/ 6206791 h 6524625"/>
              <a:gd name="connsiteX743" fmla="*/ 10830214 w 12192000"/>
              <a:gd name="connsiteY743" fmla="*/ 6207771 h 6524625"/>
              <a:gd name="connsiteX744" fmla="*/ 10833765 w 12192000"/>
              <a:gd name="connsiteY744" fmla="*/ 6208506 h 6524625"/>
              <a:gd name="connsiteX745" fmla="*/ 10837193 w 12192000"/>
              <a:gd name="connsiteY745" fmla="*/ 6208996 h 6524625"/>
              <a:gd name="connsiteX746" fmla="*/ 10840621 w 12192000"/>
              <a:gd name="connsiteY746" fmla="*/ 6209486 h 6524625"/>
              <a:gd name="connsiteX747" fmla="*/ 10843927 w 12192000"/>
              <a:gd name="connsiteY747" fmla="*/ 6209608 h 6524625"/>
              <a:gd name="connsiteX748" fmla="*/ 10846498 w 12192000"/>
              <a:gd name="connsiteY748" fmla="*/ 6209486 h 6524625"/>
              <a:gd name="connsiteX749" fmla="*/ 10849069 w 12192000"/>
              <a:gd name="connsiteY749" fmla="*/ 6209363 h 6524625"/>
              <a:gd name="connsiteX750" fmla="*/ 10851395 w 12192000"/>
              <a:gd name="connsiteY750" fmla="*/ 6209118 h 6524625"/>
              <a:gd name="connsiteX751" fmla="*/ 10853844 w 12192000"/>
              <a:gd name="connsiteY751" fmla="*/ 6208873 h 6524625"/>
              <a:gd name="connsiteX752" fmla="*/ 10856048 w 12192000"/>
              <a:gd name="connsiteY752" fmla="*/ 6208506 h 6524625"/>
              <a:gd name="connsiteX753" fmla="*/ 10858252 w 12192000"/>
              <a:gd name="connsiteY753" fmla="*/ 6208139 h 6524625"/>
              <a:gd name="connsiteX754" fmla="*/ 10860456 w 12192000"/>
              <a:gd name="connsiteY754" fmla="*/ 6207526 h 6524625"/>
              <a:gd name="connsiteX755" fmla="*/ 10862415 w 12192000"/>
              <a:gd name="connsiteY755" fmla="*/ 6207036 h 6524625"/>
              <a:gd name="connsiteX756" fmla="*/ 10864496 w 12192000"/>
              <a:gd name="connsiteY756" fmla="*/ 6206301 h 6524625"/>
              <a:gd name="connsiteX757" fmla="*/ 10866333 w 12192000"/>
              <a:gd name="connsiteY757" fmla="*/ 6205567 h 6524625"/>
              <a:gd name="connsiteX758" fmla="*/ 10868292 w 12192000"/>
              <a:gd name="connsiteY758" fmla="*/ 6204709 h 6524625"/>
              <a:gd name="connsiteX759" fmla="*/ 10869883 w 12192000"/>
              <a:gd name="connsiteY759" fmla="*/ 6203729 h 6524625"/>
              <a:gd name="connsiteX760" fmla="*/ 10871720 w 12192000"/>
              <a:gd name="connsiteY760" fmla="*/ 6202750 h 6524625"/>
              <a:gd name="connsiteX761" fmla="*/ 10873189 w 12192000"/>
              <a:gd name="connsiteY761" fmla="*/ 6201647 h 6524625"/>
              <a:gd name="connsiteX762" fmla="*/ 10874781 w 12192000"/>
              <a:gd name="connsiteY762" fmla="*/ 6200422 h 6524625"/>
              <a:gd name="connsiteX763" fmla="*/ 10876127 w 12192000"/>
              <a:gd name="connsiteY763" fmla="*/ 6199075 h 6524625"/>
              <a:gd name="connsiteX764" fmla="*/ 10877474 w 12192000"/>
              <a:gd name="connsiteY764" fmla="*/ 6197728 h 6524625"/>
              <a:gd name="connsiteX765" fmla="*/ 10878821 w 12192000"/>
              <a:gd name="connsiteY765" fmla="*/ 6196136 h 6524625"/>
              <a:gd name="connsiteX766" fmla="*/ 10880045 w 12192000"/>
              <a:gd name="connsiteY766" fmla="*/ 6194666 h 6524625"/>
              <a:gd name="connsiteX767" fmla="*/ 10881025 w 12192000"/>
              <a:gd name="connsiteY767" fmla="*/ 6193074 h 6524625"/>
              <a:gd name="connsiteX768" fmla="*/ 10882127 w 12192000"/>
              <a:gd name="connsiteY768" fmla="*/ 6191114 h 6524625"/>
              <a:gd name="connsiteX769" fmla="*/ 10883106 w 12192000"/>
              <a:gd name="connsiteY769" fmla="*/ 6189400 h 6524625"/>
              <a:gd name="connsiteX770" fmla="*/ 10883841 w 12192000"/>
              <a:gd name="connsiteY770" fmla="*/ 6187317 h 6524625"/>
              <a:gd name="connsiteX771" fmla="*/ 10884576 w 12192000"/>
              <a:gd name="connsiteY771" fmla="*/ 6185235 h 6524625"/>
              <a:gd name="connsiteX772" fmla="*/ 10885310 w 12192000"/>
              <a:gd name="connsiteY772" fmla="*/ 6183031 h 6524625"/>
              <a:gd name="connsiteX773" fmla="*/ 10885922 w 12192000"/>
              <a:gd name="connsiteY773" fmla="*/ 6180826 h 6524625"/>
              <a:gd name="connsiteX774" fmla="*/ 10886412 w 12192000"/>
              <a:gd name="connsiteY774" fmla="*/ 6178377 h 6524625"/>
              <a:gd name="connsiteX775" fmla="*/ 10886902 w 12192000"/>
              <a:gd name="connsiteY775" fmla="*/ 6175927 h 6524625"/>
              <a:gd name="connsiteX776" fmla="*/ 10887147 w 12192000"/>
              <a:gd name="connsiteY776" fmla="*/ 6173355 h 6524625"/>
              <a:gd name="connsiteX777" fmla="*/ 10887392 w 12192000"/>
              <a:gd name="connsiteY777" fmla="*/ 6170538 h 6524625"/>
              <a:gd name="connsiteX778" fmla="*/ 10887514 w 12192000"/>
              <a:gd name="connsiteY778" fmla="*/ 6167844 h 6524625"/>
              <a:gd name="connsiteX779" fmla="*/ 10887514 w 12192000"/>
              <a:gd name="connsiteY779" fmla="*/ 6164904 h 6524625"/>
              <a:gd name="connsiteX780" fmla="*/ 10887514 w 12192000"/>
              <a:gd name="connsiteY780" fmla="*/ 6097174 h 6524625"/>
              <a:gd name="connsiteX781" fmla="*/ 10860945 w 12192000"/>
              <a:gd name="connsiteY781" fmla="*/ 6097174 h 6524625"/>
              <a:gd name="connsiteX782" fmla="*/ 10860945 w 12192000"/>
              <a:gd name="connsiteY782" fmla="*/ 6105135 h 6524625"/>
              <a:gd name="connsiteX783" fmla="*/ 10860578 w 12192000"/>
              <a:gd name="connsiteY783" fmla="*/ 6105135 h 6524625"/>
              <a:gd name="connsiteX784" fmla="*/ 10859476 w 12192000"/>
              <a:gd name="connsiteY784" fmla="*/ 6103911 h 6524625"/>
              <a:gd name="connsiteX785" fmla="*/ 10858497 w 12192000"/>
              <a:gd name="connsiteY785" fmla="*/ 6102563 h 6524625"/>
              <a:gd name="connsiteX786" fmla="*/ 10857395 w 12192000"/>
              <a:gd name="connsiteY786" fmla="*/ 6101461 h 6524625"/>
              <a:gd name="connsiteX787" fmla="*/ 10856048 w 12192000"/>
              <a:gd name="connsiteY787" fmla="*/ 6100481 h 6524625"/>
              <a:gd name="connsiteX788" fmla="*/ 10854824 w 12192000"/>
              <a:gd name="connsiteY788" fmla="*/ 6099501 h 6524625"/>
              <a:gd name="connsiteX789" fmla="*/ 10853599 w 12192000"/>
              <a:gd name="connsiteY789" fmla="*/ 6098644 h 6524625"/>
              <a:gd name="connsiteX790" fmla="*/ 10852130 w 12192000"/>
              <a:gd name="connsiteY790" fmla="*/ 6097787 h 6524625"/>
              <a:gd name="connsiteX791" fmla="*/ 10850783 w 12192000"/>
              <a:gd name="connsiteY791" fmla="*/ 6097174 h 6524625"/>
              <a:gd name="connsiteX792" fmla="*/ 10849436 w 12192000"/>
              <a:gd name="connsiteY792" fmla="*/ 6096684 h 6524625"/>
              <a:gd name="connsiteX793" fmla="*/ 10847845 w 12192000"/>
              <a:gd name="connsiteY793" fmla="*/ 6096194 h 6524625"/>
              <a:gd name="connsiteX794" fmla="*/ 10846376 w 12192000"/>
              <a:gd name="connsiteY794" fmla="*/ 6095705 h 6524625"/>
              <a:gd name="connsiteX795" fmla="*/ 10844784 w 12192000"/>
              <a:gd name="connsiteY795" fmla="*/ 6095460 h 6524625"/>
              <a:gd name="connsiteX796" fmla="*/ 10843192 w 12192000"/>
              <a:gd name="connsiteY796" fmla="*/ 6095215 h 6524625"/>
              <a:gd name="connsiteX797" fmla="*/ 10841723 w 12192000"/>
              <a:gd name="connsiteY797" fmla="*/ 6094970 h 6524625"/>
              <a:gd name="connsiteX798" fmla="*/ 10840009 w 12192000"/>
              <a:gd name="connsiteY798" fmla="*/ 6094847 h 6524625"/>
              <a:gd name="connsiteX799" fmla="*/ 10753504 w 12192000"/>
              <a:gd name="connsiteY799" fmla="*/ 6094847 h 6524625"/>
              <a:gd name="connsiteX800" fmla="*/ 10751665 w 12192000"/>
              <a:gd name="connsiteY800" fmla="*/ 6094971 h 6524625"/>
              <a:gd name="connsiteX801" fmla="*/ 10749826 w 12192000"/>
              <a:gd name="connsiteY801" fmla="*/ 6095219 h 6524625"/>
              <a:gd name="connsiteX802" fmla="*/ 10748110 w 12192000"/>
              <a:gd name="connsiteY802" fmla="*/ 6095466 h 6524625"/>
              <a:gd name="connsiteX803" fmla="*/ 10746516 w 12192000"/>
              <a:gd name="connsiteY803" fmla="*/ 6095837 h 6524625"/>
              <a:gd name="connsiteX804" fmla="*/ 10744922 w 12192000"/>
              <a:gd name="connsiteY804" fmla="*/ 6096209 h 6524625"/>
              <a:gd name="connsiteX805" fmla="*/ 10743328 w 12192000"/>
              <a:gd name="connsiteY805" fmla="*/ 6096828 h 6524625"/>
              <a:gd name="connsiteX806" fmla="*/ 10741734 w 12192000"/>
              <a:gd name="connsiteY806" fmla="*/ 6097447 h 6524625"/>
              <a:gd name="connsiteX807" fmla="*/ 10740385 w 12192000"/>
              <a:gd name="connsiteY807" fmla="*/ 6098189 h 6524625"/>
              <a:gd name="connsiteX808" fmla="*/ 10738914 w 12192000"/>
              <a:gd name="connsiteY808" fmla="*/ 6099179 h 6524625"/>
              <a:gd name="connsiteX809" fmla="*/ 10737565 w 12192000"/>
              <a:gd name="connsiteY809" fmla="*/ 6100170 h 6524625"/>
              <a:gd name="connsiteX810" fmla="*/ 10736217 w 12192000"/>
              <a:gd name="connsiteY810" fmla="*/ 6101284 h 6524625"/>
              <a:gd name="connsiteX811" fmla="*/ 10734868 w 12192000"/>
              <a:gd name="connsiteY811" fmla="*/ 6102398 h 6524625"/>
              <a:gd name="connsiteX812" fmla="*/ 10733642 w 12192000"/>
              <a:gd name="connsiteY812" fmla="*/ 6103883 h 6524625"/>
              <a:gd name="connsiteX813" fmla="*/ 10732538 w 12192000"/>
              <a:gd name="connsiteY813" fmla="*/ 6105368 h 6524625"/>
              <a:gd name="connsiteX814" fmla="*/ 10731312 w 12192000"/>
              <a:gd name="connsiteY814" fmla="*/ 6106977 h 6524625"/>
              <a:gd name="connsiteX815" fmla="*/ 10730944 w 12192000"/>
              <a:gd name="connsiteY815" fmla="*/ 6106977 h 6524625"/>
              <a:gd name="connsiteX816" fmla="*/ 10730944 w 12192000"/>
              <a:gd name="connsiteY816" fmla="*/ 6097199 h 6524625"/>
              <a:gd name="connsiteX817" fmla="*/ 10704216 w 12192000"/>
              <a:gd name="connsiteY817" fmla="*/ 6097199 h 6524625"/>
              <a:gd name="connsiteX818" fmla="*/ 10704216 w 12192000"/>
              <a:gd name="connsiteY818" fmla="*/ 6172949 h 6524625"/>
              <a:gd name="connsiteX819" fmla="*/ 10730944 w 12192000"/>
              <a:gd name="connsiteY819" fmla="*/ 6172949 h 6524625"/>
              <a:gd name="connsiteX820" fmla="*/ 10730944 w 12192000"/>
              <a:gd name="connsiteY820" fmla="*/ 6133713 h 6524625"/>
              <a:gd name="connsiteX821" fmla="*/ 10731067 w 12192000"/>
              <a:gd name="connsiteY821" fmla="*/ 6131856 h 6524625"/>
              <a:gd name="connsiteX822" fmla="*/ 10731067 w 12192000"/>
              <a:gd name="connsiteY822" fmla="*/ 6130247 h 6524625"/>
              <a:gd name="connsiteX823" fmla="*/ 10731312 w 12192000"/>
              <a:gd name="connsiteY823" fmla="*/ 6128514 h 6524625"/>
              <a:gd name="connsiteX824" fmla="*/ 10731680 w 12192000"/>
              <a:gd name="connsiteY824" fmla="*/ 6126905 h 6524625"/>
              <a:gd name="connsiteX825" fmla="*/ 10732048 w 12192000"/>
              <a:gd name="connsiteY825" fmla="*/ 6125420 h 6524625"/>
              <a:gd name="connsiteX826" fmla="*/ 10732538 w 12192000"/>
              <a:gd name="connsiteY826" fmla="*/ 6123934 h 6524625"/>
              <a:gd name="connsiteX827" fmla="*/ 10733151 w 12192000"/>
              <a:gd name="connsiteY827" fmla="*/ 6122573 h 6524625"/>
              <a:gd name="connsiteX828" fmla="*/ 10733887 w 12192000"/>
              <a:gd name="connsiteY828" fmla="*/ 6121335 h 6524625"/>
              <a:gd name="connsiteX829" fmla="*/ 10734745 w 12192000"/>
              <a:gd name="connsiteY829" fmla="*/ 6120345 h 6524625"/>
              <a:gd name="connsiteX830" fmla="*/ 10735849 w 12192000"/>
              <a:gd name="connsiteY830" fmla="*/ 6119107 h 6524625"/>
              <a:gd name="connsiteX831" fmla="*/ 10736952 w 12192000"/>
              <a:gd name="connsiteY831" fmla="*/ 6118241 h 6524625"/>
              <a:gd name="connsiteX832" fmla="*/ 10738178 w 12192000"/>
              <a:gd name="connsiteY832" fmla="*/ 6117622 h 6524625"/>
              <a:gd name="connsiteX833" fmla="*/ 10739772 w 12192000"/>
              <a:gd name="connsiteY833" fmla="*/ 6117003 h 6524625"/>
              <a:gd name="connsiteX834" fmla="*/ 10741244 w 12192000"/>
              <a:gd name="connsiteY834" fmla="*/ 6116508 h 6524625"/>
              <a:gd name="connsiteX835" fmla="*/ 10743083 w 12192000"/>
              <a:gd name="connsiteY835" fmla="*/ 6116260 h 6524625"/>
              <a:gd name="connsiteX836" fmla="*/ 10745044 w 12192000"/>
              <a:gd name="connsiteY836" fmla="*/ 6116137 h 6524625"/>
              <a:gd name="connsiteX837" fmla="*/ 10746148 w 12192000"/>
              <a:gd name="connsiteY837" fmla="*/ 6116260 h 6524625"/>
              <a:gd name="connsiteX838" fmla="*/ 10747374 w 12192000"/>
              <a:gd name="connsiteY838" fmla="*/ 6116384 h 6524625"/>
              <a:gd name="connsiteX839" fmla="*/ 10748355 w 12192000"/>
              <a:gd name="connsiteY839" fmla="*/ 6116508 h 6524625"/>
              <a:gd name="connsiteX840" fmla="*/ 10749336 w 12192000"/>
              <a:gd name="connsiteY840" fmla="*/ 6116755 h 6524625"/>
              <a:gd name="connsiteX841" fmla="*/ 10750316 w 12192000"/>
              <a:gd name="connsiteY841" fmla="*/ 6117003 h 6524625"/>
              <a:gd name="connsiteX842" fmla="*/ 10751052 w 12192000"/>
              <a:gd name="connsiteY842" fmla="*/ 6117374 h 6524625"/>
              <a:gd name="connsiteX843" fmla="*/ 10751788 w 12192000"/>
              <a:gd name="connsiteY843" fmla="*/ 6117746 h 6524625"/>
              <a:gd name="connsiteX844" fmla="*/ 10752523 w 12192000"/>
              <a:gd name="connsiteY844" fmla="*/ 6118241 h 6524625"/>
              <a:gd name="connsiteX845" fmla="*/ 10753136 w 12192000"/>
              <a:gd name="connsiteY845" fmla="*/ 6118736 h 6524625"/>
              <a:gd name="connsiteX846" fmla="*/ 10753627 w 12192000"/>
              <a:gd name="connsiteY846" fmla="*/ 6119231 h 6524625"/>
              <a:gd name="connsiteX847" fmla="*/ 10754240 w 12192000"/>
              <a:gd name="connsiteY847" fmla="*/ 6119850 h 6524625"/>
              <a:gd name="connsiteX848" fmla="*/ 10754730 w 12192000"/>
              <a:gd name="connsiteY848" fmla="*/ 6120592 h 6524625"/>
              <a:gd name="connsiteX849" fmla="*/ 10755466 w 12192000"/>
              <a:gd name="connsiteY849" fmla="*/ 6121954 h 6524625"/>
              <a:gd name="connsiteX850" fmla="*/ 10756079 w 12192000"/>
              <a:gd name="connsiteY850" fmla="*/ 6123315 h 6524625"/>
              <a:gd name="connsiteX851" fmla="*/ 10756447 w 12192000"/>
              <a:gd name="connsiteY851" fmla="*/ 6125048 h 6524625"/>
              <a:gd name="connsiteX852" fmla="*/ 10756815 w 12192000"/>
              <a:gd name="connsiteY852" fmla="*/ 6126534 h 6524625"/>
              <a:gd name="connsiteX853" fmla="*/ 10756937 w 12192000"/>
              <a:gd name="connsiteY853" fmla="*/ 6128143 h 6524625"/>
              <a:gd name="connsiteX854" fmla="*/ 10757060 w 12192000"/>
              <a:gd name="connsiteY854" fmla="*/ 6129876 h 6524625"/>
              <a:gd name="connsiteX855" fmla="*/ 10757060 w 12192000"/>
              <a:gd name="connsiteY855" fmla="*/ 6133217 h 6524625"/>
              <a:gd name="connsiteX856" fmla="*/ 10757060 w 12192000"/>
              <a:gd name="connsiteY856" fmla="*/ 6136064 h 6524625"/>
              <a:gd name="connsiteX857" fmla="*/ 10757060 w 12192000"/>
              <a:gd name="connsiteY857" fmla="*/ 6172949 h 6524625"/>
              <a:gd name="connsiteX858" fmla="*/ 10783911 w 12192000"/>
              <a:gd name="connsiteY858" fmla="*/ 6172949 h 6524625"/>
              <a:gd name="connsiteX859" fmla="*/ 10783911 w 12192000"/>
              <a:gd name="connsiteY859" fmla="*/ 6126162 h 6524625"/>
              <a:gd name="connsiteX860" fmla="*/ 10783788 w 12192000"/>
              <a:gd name="connsiteY860" fmla="*/ 6122697 h 6524625"/>
              <a:gd name="connsiteX861" fmla="*/ 10783543 w 12192000"/>
              <a:gd name="connsiteY861" fmla="*/ 6119478 h 6524625"/>
              <a:gd name="connsiteX862" fmla="*/ 10782930 w 12192000"/>
              <a:gd name="connsiteY862" fmla="*/ 6116384 h 6524625"/>
              <a:gd name="connsiteX863" fmla="*/ 10782317 w 12192000"/>
              <a:gd name="connsiteY863" fmla="*/ 6113413 h 6524625"/>
              <a:gd name="connsiteX864" fmla="*/ 10781827 w 12192000"/>
              <a:gd name="connsiteY864" fmla="*/ 6112052 h 6524625"/>
              <a:gd name="connsiteX865" fmla="*/ 10781336 w 12192000"/>
              <a:gd name="connsiteY865" fmla="*/ 6110690 h 6524625"/>
              <a:gd name="connsiteX866" fmla="*/ 10780846 w 12192000"/>
              <a:gd name="connsiteY866" fmla="*/ 6109329 h 6524625"/>
              <a:gd name="connsiteX867" fmla="*/ 10780233 w 12192000"/>
              <a:gd name="connsiteY867" fmla="*/ 6108091 h 6524625"/>
              <a:gd name="connsiteX868" fmla="*/ 10779497 w 12192000"/>
              <a:gd name="connsiteY868" fmla="*/ 6106853 h 6524625"/>
              <a:gd name="connsiteX869" fmla="*/ 10778884 w 12192000"/>
              <a:gd name="connsiteY869" fmla="*/ 6105739 h 6524625"/>
              <a:gd name="connsiteX870" fmla="*/ 10778148 w 12192000"/>
              <a:gd name="connsiteY870" fmla="*/ 6104625 h 6524625"/>
              <a:gd name="connsiteX871" fmla="*/ 10777290 w 12192000"/>
              <a:gd name="connsiteY871" fmla="*/ 6103511 h 6524625"/>
              <a:gd name="connsiteX872" fmla="*/ 10776432 w 12192000"/>
              <a:gd name="connsiteY872" fmla="*/ 6102521 h 6524625"/>
              <a:gd name="connsiteX873" fmla="*/ 10775451 w 12192000"/>
              <a:gd name="connsiteY873" fmla="*/ 6101531 h 6524625"/>
              <a:gd name="connsiteX874" fmla="*/ 10774470 w 12192000"/>
              <a:gd name="connsiteY874" fmla="*/ 6100665 h 6524625"/>
              <a:gd name="connsiteX875" fmla="*/ 10773367 w 12192000"/>
              <a:gd name="connsiteY875" fmla="*/ 6099922 h 6524625"/>
              <a:gd name="connsiteX876" fmla="*/ 10772141 w 12192000"/>
              <a:gd name="connsiteY876" fmla="*/ 6099056 h 6524625"/>
              <a:gd name="connsiteX877" fmla="*/ 10771037 w 12192000"/>
              <a:gd name="connsiteY877" fmla="*/ 6098313 h 6524625"/>
              <a:gd name="connsiteX878" fmla="*/ 10769811 w 12192000"/>
              <a:gd name="connsiteY878" fmla="*/ 6097694 h 6524625"/>
              <a:gd name="connsiteX879" fmla="*/ 10768462 w 12192000"/>
              <a:gd name="connsiteY879" fmla="*/ 6097075 h 6524625"/>
              <a:gd name="connsiteX880" fmla="*/ 10767114 w 12192000"/>
              <a:gd name="connsiteY880" fmla="*/ 6096580 h 6524625"/>
              <a:gd name="connsiteX881" fmla="*/ 10765642 w 12192000"/>
              <a:gd name="connsiteY881" fmla="*/ 6096085 h 6524625"/>
              <a:gd name="connsiteX882" fmla="*/ 10764049 w 12192000"/>
              <a:gd name="connsiteY882" fmla="*/ 6095714 h 6524625"/>
              <a:gd name="connsiteX883" fmla="*/ 10762577 w 12192000"/>
              <a:gd name="connsiteY883" fmla="*/ 6095466 h 6524625"/>
              <a:gd name="connsiteX884" fmla="*/ 10760861 w 12192000"/>
              <a:gd name="connsiteY884" fmla="*/ 6095219 h 6524625"/>
              <a:gd name="connsiteX885" fmla="*/ 10759144 w 12192000"/>
              <a:gd name="connsiteY885" fmla="*/ 6094971 h 6524625"/>
              <a:gd name="connsiteX886" fmla="*/ 10757305 w 12192000"/>
              <a:gd name="connsiteY886" fmla="*/ 6094847 h 6524625"/>
              <a:gd name="connsiteX887" fmla="*/ 10755466 w 12192000"/>
              <a:gd name="connsiteY887" fmla="*/ 6094847 h 6524625"/>
              <a:gd name="connsiteX888" fmla="*/ 10471751 w 12192000"/>
              <a:gd name="connsiteY888" fmla="*/ 6094847 h 6524625"/>
              <a:gd name="connsiteX889" fmla="*/ 10469544 w 12192000"/>
              <a:gd name="connsiteY889" fmla="*/ 6094970 h 6524625"/>
              <a:gd name="connsiteX890" fmla="*/ 10467337 w 12192000"/>
              <a:gd name="connsiteY890" fmla="*/ 6095092 h 6524625"/>
              <a:gd name="connsiteX891" fmla="*/ 10465007 w 12192000"/>
              <a:gd name="connsiteY891" fmla="*/ 6095215 h 6524625"/>
              <a:gd name="connsiteX892" fmla="*/ 10463046 w 12192000"/>
              <a:gd name="connsiteY892" fmla="*/ 6095583 h 6524625"/>
              <a:gd name="connsiteX893" fmla="*/ 10460839 w 12192000"/>
              <a:gd name="connsiteY893" fmla="*/ 6095951 h 6524625"/>
              <a:gd name="connsiteX894" fmla="*/ 10458877 w 12192000"/>
              <a:gd name="connsiteY894" fmla="*/ 6096319 h 6524625"/>
              <a:gd name="connsiteX895" fmla="*/ 10456793 w 12192000"/>
              <a:gd name="connsiteY895" fmla="*/ 6096932 h 6524625"/>
              <a:gd name="connsiteX896" fmla="*/ 10454953 w 12192000"/>
              <a:gd name="connsiteY896" fmla="*/ 6097545 h 6524625"/>
              <a:gd name="connsiteX897" fmla="*/ 10452992 w 12192000"/>
              <a:gd name="connsiteY897" fmla="*/ 6098280 h 6524625"/>
              <a:gd name="connsiteX898" fmla="*/ 10451275 w 12192000"/>
              <a:gd name="connsiteY898" fmla="*/ 6099139 h 6524625"/>
              <a:gd name="connsiteX899" fmla="*/ 10449436 w 12192000"/>
              <a:gd name="connsiteY899" fmla="*/ 6099997 h 6524625"/>
              <a:gd name="connsiteX900" fmla="*/ 10447842 w 12192000"/>
              <a:gd name="connsiteY900" fmla="*/ 6100855 h 6524625"/>
              <a:gd name="connsiteX901" fmla="*/ 10446126 w 12192000"/>
              <a:gd name="connsiteY901" fmla="*/ 6101958 h 6524625"/>
              <a:gd name="connsiteX902" fmla="*/ 10444654 w 12192000"/>
              <a:gd name="connsiteY902" fmla="*/ 6103062 h 6524625"/>
              <a:gd name="connsiteX903" fmla="*/ 10443060 w 12192000"/>
              <a:gd name="connsiteY903" fmla="*/ 6104288 h 6524625"/>
              <a:gd name="connsiteX904" fmla="*/ 10441712 w 12192000"/>
              <a:gd name="connsiteY904" fmla="*/ 6105514 h 6524625"/>
              <a:gd name="connsiteX905" fmla="*/ 10440486 w 12192000"/>
              <a:gd name="connsiteY905" fmla="*/ 6106740 h 6524625"/>
              <a:gd name="connsiteX906" fmla="*/ 10439137 w 12192000"/>
              <a:gd name="connsiteY906" fmla="*/ 6108211 h 6524625"/>
              <a:gd name="connsiteX907" fmla="*/ 10437911 w 12192000"/>
              <a:gd name="connsiteY907" fmla="*/ 6109683 h 6524625"/>
              <a:gd name="connsiteX908" fmla="*/ 10436807 w 12192000"/>
              <a:gd name="connsiteY908" fmla="*/ 6111154 h 6524625"/>
              <a:gd name="connsiteX909" fmla="*/ 10435704 w 12192000"/>
              <a:gd name="connsiteY909" fmla="*/ 6112871 h 6524625"/>
              <a:gd name="connsiteX910" fmla="*/ 10434846 w 12192000"/>
              <a:gd name="connsiteY910" fmla="*/ 6114464 h 6524625"/>
              <a:gd name="connsiteX911" fmla="*/ 10433987 w 12192000"/>
              <a:gd name="connsiteY911" fmla="*/ 6116304 h 6524625"/>
              <a:gd name="connsiteX912" fmla="*/ 10433252 w 12192000"/>
              <a:gd name="connsiteY912" fmla="*/ 6118020 h 6524625"/>
              <a:gd name="connsiteX913" fmla="*/ 10432516 w 12192000"/>
              <a:gd name="connsiteY913" fmla="*/ 6119982 h 6524625"/>
              <a:gd name="connsiteX914" fmla="*/ 10431781 w 12192000"/>
              <a:gd name="connsiteY914" fmla="*/ 6121944 h 6524625"/>
              <a:gd name="connsiteX915" fmla="*/ 10431290 w 12192000"/>
              <a:gd name="connsiteY915" fmla="*/ 6123783 h 6524625"/>
              <a:gd name="connsiteX916" fmla="*/ 10430922 w 12192000"/>
              <a:gd name="connsiteY916" fmla="*/ 6125990 h 6524625"/>
              <a:gd name="connsiteX917" fmla="*/ 10430554 w 12192000"/>
              <a:gd name="connsiteY917" fmla="*/ 6128074 h 6524625"/>
              <a:gd name="connsiteX918" fmla="*/ 10430309 w 12192000"/>
              <a:gd name="connsiteY918" fmla="*/ 6130281 h 6524625"/>
              <a:gd name="connsiteX919" fmla="*/ 10430187 w 12192000"/>
              <a:gd name="connsiteY919" fmla="*/ 6132488 h 6524625"/>
              <a:gd name="connsiteX920" fmla="*/ 10430064 w 12192000"/>
              <a:gd name="connsiteY920" fmla="*/ 6134817 h 6524625"/>
              <a:gd name="connsiteX921" fmla="*/ 10430187 w 12192000"/>
              <a:gd name="connsiteY921" fmla="*/ 6137270 h 6524625"/>
              <a:gd name="connsiteX922" fmla="*/ 10430309 w 12192000"/>
              <a:gd name="connsiteY922" fmla="*/ 6139476 h 6524625"/>
              <a:gd name="connsiteX923" fmla="*/ 10430554 w 12192000"/>
              <a:gd name="connsiteY923" fmla="*/ 6141806 h 6524625"/>
              <a:gd name="connsiteX924" fmla="*/ 10430922 w 12192000"/>
              <a:gd name="connsiteY924" fmla="*/ 6143890 h 6524625"/>
              <a:gd name="connsiteX925" fmla="*/ 10431413 w 12192000"/>
              <a:gd name="connsiteY925" fmla="*/ 6146097 h 6524625"/>
              <a:gd name="connsiteX926" fmla="*/ 10431903 w 12192000"/>
              <a:gd name="connsiteY926" fmla="*/ 6148059 h 6524625"/>
              <a:gd name="connsiteX927" fmla="*/ 10432639 w 12192000"/>
              <a:gd name="connsiteY927" fmla="*/ 6150021 h 6524625"/>
              <a:gd name="connsiteX928" fmla="*/ 10433374 w 12192000"/>
              <a:gd name="connsiteY928" fmla="*/ 6151860 h 6524625"/>
              <a:gd name="connsiteX929" fmla="*/ 10434233 w 12192000"/>
              <a:gd name="connsiteY929" fmla="*/ 6153699 h 6524625"/>
              <a:gd name="connsiteX930" fmla="*/ 10435091 w 12192000"/>
              <a:gd name="connsiteY930" fmla="*/ 6155415 h 6524625"/>
              <a:gd name="connsiteX931" fmla="*/ 10436194 w 12192000"/>
              <a:gd name="connsiteY931" fmla="*/ 6157132 h 6524625"/>
              <a:gd name="connsiteX932" fmla="*/ 10437298 w 12192000"/>
              <a:gd name="connsiteY932" fmla="*/ 6158726 h 6524625"/>
              <a:gd name="connsiteX933" fmla="*/ 10438524 w 12192000"/>
              <a:gd name="connsiteY933" fmla="*/ 6160197 h 6524625"/>
              <a:gd name="connsiteX934" fmla="*/ 10439873 w 12192000"/>
              <a:gd name="connsiteY934" fmla="*/ 6161668 h 6524625"/>
              <a:gd name="connsiteX935" fmla="*/ 10441099 w 12192000"/>
              <a:gd name="connsiteY935" fmla="*/ 6163140 h 6524625"/>
              <a:gd name="connsiteX936" fmla="*/ 10442570 w 12192000"/>
              <a:gd name="connsiteY936" fmla="*/ 6164366 h 6524625"/>
              <a:gd name="connsiteX937" fmla="*/ 10444041 w 12192000"/>
              <a:gd name="connsiteY937" fmla="*/ 6165469 h 6524625"/>
              <a:gd name="connsiteX938" fmla="*/ 10445635 w 12192000"/>
              <a:gd name="connsiteY938" fmla="*/ 6166818 h 6524625"/>
              <a:gd name="connsiteX939" fmla="*/ 10447229 w 12192000"/>
              <a:gd name="connsiteY939" fmla="*/ 6167799 h 6524625"/>
              <a:gd name="connsiteX940" fmla="*/ 10448946 w 12192000"/>
              <a:gd name="connsiteY940" fmla="*/ 6168780 h 6524625"/>
              <a:gd name="connsiteX941" fmla="*/ 10450785 w 12192000"/>
              <a:gd name="connsiteY941" fmla="*/ 6169638 h 6524625"/>
              <a:gd name="connsiteX942" fmla="*/ 10452501 w 12192000"/>
              <a:gd name="connsiteY942" fmla="*/ 6170496 h 6524625"/>
              <a:gd name="connsiteX943" fmla="*/ 10454340 w 12192000"/>
              <a:gd name="connsiteY943" fmla="*/ 6171354 h 6524625"/>
              <a:gd name="connsiteX944" fmla="*/ 10456302 w 12192000"/>
              <a:gd name="connsiteY944" fmla="*/ 6171967 h 6524625"/>
              <a:gd name="connsiteX945" fmla="*/ 10458386 w 12192000"/>
              <a:gd name="connsiteY945" fmla="*/ 6172581 h 6524625"/>
              <a:gd name="connsiteX946" fmla="*/ 10460348 w 12192000"/>
              <a:gd name="connsiteY946" fmla="*/ 6173071 h 6524625"/>
              <a:gd name="connsiteX947" fmla="*/ 10462555 w 12192000"/>
              <a:gd name="connsiteY947" fmla="*/ 6173561 h 6524625"/>
              <a:gd name="connsiteX948" fmla="*/ 10464639 w 12192000"/>
              <a:gd name="connsiteY948" fmla="*/ 6173929 h 6524625"/>
              <a:gd name="connsiteX949" fmla="*/ 10466846 w 12192000"/>
              <a:gd name="connsiteY949" fmla="*/ 6174174 h 6524625"/>
              <a:gd name="connsiteX950" fmla="*/ 10469053 w 12192000"/>
              <a:gd name="connsiteY950" fmla="*/ 6174297 h 6524625"/>
              <a:gd name="connsiteX951" fmla="*/ 10471383 w 12192000"/>
              <a:gd name="connsiteY951" fmla="*/ 6174420 h 6524625"/>
              <a:gd name="connsiteX952" fmla="*/ 10473712 w 12192000"/>
              <a:gd name="connsiteY952" fmla="*/ 6174542 h 6524625"/>
              <a:gd name="connsiteX953" fmla="*/ 10477023 w 12192000"/>
              <a:gd name="connsiteY953" fmla="*/ 6174420 h 6524625"/>
              <a:gd name="connsiteX954" fmla="*/ 10480088 w 12192000"/>
              <a:gd name="connsiteY954" fmla="*/ 6174174 h 6524625"/>
              <a:gd name="connsiteX955" fmla="*/ 10483153 w 12192000"/>
              <a:gd name="connsiteY955" fmla="*/ 6173684 h 6524625"/>
              <a:gd name="connsiteX956" fmla="*/ 10486341 w 12192000"/>
              <a:gd name="connsiteY956" fmla="*/ 6173071 h 6524625"/>
              <a:gd name="connsiteX957" fmla="*/ 10489284 w 12192000"/>
              <a:gd name="connsiteY957" fmla="*/ 6172213 h 6524625"/>
              <a:gd name="connsiteX958" fmla="*/ 10492226 w 12192000"/>
              <a:gd name="connsiteY958" fmla="*/ 6171109 h 6524625"/>
              <a:gd name="connsiteX959" fmla="*/ 10494924 w 12192000"/>
              <a:gd name="connsiteY959" fmla="*/ 6169761 h 6524625"/>
              <a:gd name="connsiteX960" fmla="*/ 10497621 w 12192000"/>
              <a:gd name="connsiteY960" fmla="*/ 6168289 h 6524625"/>
              <a:gd name="connsiteX961" fmla="*/ 10498970 w 12192000"/>
              <a:gd name="connsiteY961" fmla="*/ 6167554 h 6524625"/>
              <a:gd name="connsiteX962" fmla="*/ 10500196 w 12192000"/>
              <a:gd name="connsiteY962" fmla="*/ 6166573 h 6524625"/>
              <a:gd name="connsiteX963" fmla="*/ 10501299 w 12192000"/>
              <a:gd name="connsiteY963" fmla="*/ 6165714 h 6524625"/>
              <a:gd name="connsiteX964" fmla="*/ 10502648 w 12192000"/>
              <a:gd name="connsiteY964" fmla="*/ 6164734 h 6524625"/>
              <a:gd name="connsiteX965" fmla="*/ 10503629 w 12192000"/>
              <a:gd name="connsiteY965" fmla="*/ 6163753 h 6524625"/>
              <a:gd name="connsiteX966" fmla="*/ 10504732 w 12192000"/>
              <a:gd name="connsiteY966" fmla="*/ 6162649 h 6524625"/>
              <a:gd name="connsiteX967" fmla="*/ 10505591 w 12192000"/>
              <a:gd name="connsiteY967" fmla="*/ 6161423 h 6524625"/>
              <a:gd name="connsiteX968" fmla="*/ 10506694 w 12192000"/>
              <a:gd name="connsiteY968" fmla="*/ 6160320 h 6524625"/>
              <a:gd name="connsiteX969" fmla="*/ 10507552 w 12192000"/>
              <a:gd name="connsiteY969" fmla="*/ 6159094 h 6524625"/>
              <a:gd name="connsiteX970" fmla="*/ 10508288 w 12192000"/>
              <a:gd name="connsiteY970" fmla="*/ 6157745 h 6524625"/>
              <a:gd name="connsiteX971" fmla="*/ 10509146 w 12192000"/>
              <a:gd name="connsiteY971" fmla="*/ 6156396 h 6524625"/>
              <a:gd name="connsiteX972" fmla="*/ 10509759 w 12192000"/>
              <a:gd name="connsiteY972" fmla="*/ 6155048 h 6524625"/>
              <a:gd name="connsiteX973" fmla="*/ 10510495 w 12192000"/>
              <a:gd name="connsiteY973" fmla="*/ 6153576 h 6524625"/>
              <a:gd name="connsiteX974" fmla="*/ 10511108 w 12192000"/>
              <a:gd name="connsiteY974" fmla="*/ 6152105 h 6524625"/>
              <a:gd name="connsiteX975" fmla="*/ 10511598 w 12192000"/>
              <a:gd name="connsiteY975" fmla="*/ 6150511 h 6524625"/>
              <a:gd name="connsiteX976" fmla="*/ 10511966 w 12192000"/>
              <a:gd name="connsiteY976" fmla="*/ 6148795 h 6524625"/>
              <a:gd name="connsiteX977" fmla="*/ 10486341 w 12192000"/>
              <a:gd name="connsiteY977" fmla="*/ 6148795 h 6524625"/>
              <a:gd name="connsiteX978" fmla="*/ 10485728 w 12192000"/>
              <a:gd name="connsiteY978" fmla="*/ 6149775 h 6524625"/>
              <a:gd name="connsiteX979" fmla="*/ 10485238 w 12192000"/>
              <a:gd name="connsiteY979" fmla="*/ 6150634 h 6524625"/>
              <a:gd name="connsiteX980" fmla="*/ 10484625 w 12192000"/>
              <a:gd name="connsiteY980" fmla="*/ 6151369 h 6524625"/>
              <a:gd name="connsiteX981" fmla="*/ 10483889 w 12192000"/>
              <a:gd name="connsiteY981" fmla="*/ 6152105 h 6524625"/>
              <a:gd name="connsiteX982" fmla="*/ 10483153 w 12192000"/>
              <a:gd name="connsiteY982" fmla="*/ 6152718 h 6524625"/>
              <a:gd name="connsiteX983" fmla="*/ 10482540 w 12192000"/>
              <a:gd name="connsiteY983" fmla="*/ 6153209 h 6524625"/>
              <a:gd name="connsiteX984" fmla="*/ 10481805 w 12192000"/>
              <a:gd name="connsiteY984" fmla="*/ 6153699 h 6524625"/>
              <a:gd name="connsiteX985" fmla="*/ 10481069 w 12192000"/>
              <a:gd name="connsiteY985" fmla="*/ 6154312 h 6524625"/>
              <a:gd name="connsiteX986" fmla="*/ 10480088 w 12192000"/>
              <a:gd name="connsiteY986" fmla="*/ 6154680 h 6524625"/>
              <a:gd name="connsiteX987" fmla="*/ 10479352 w 12192000"/>
              <a:gd name="connsiteY987" fmla="*/ 6154925 h 6524625"/>
              <a:gd name="connsiteX988" fmla="*/ 10478494 w 12192000"/>
              <a:gd name="connsiteY988" fmla="*/ 6155293 h 6524625"/>
              <a:gd name="connsiteX989" fmla="*/ 10477636 w 12192000"/>
              <a:gd name="connsiteY989" fmla="*/ 6155415 h 6524625"/>
              <a:gd name="connsiteX990" fmla="*/ 10475552 w 12192000"/>
              <a:gd name="connsiteY990" fmla="*/ 6155783 h 6524625"/>
              <a:gd name="connsiteX991" fmla="*/ 10473590 w 12192000"/>
              <a:gd name="connsiteY991" fmla="*/ 6155783 h 6524625"/>
              <a:gd name="connsiteX992" fmla="*/ 10471506 w 12192000"/>
              <a:gd name="connsiteY992" fmla="*/ 6155783 h 6524625"/>
              <a:gd name="connsiteX993" fmla="*/ 10469789 w 12192000"/>
              <a:gd name="connsiteY993" fmla="*/ 6155538 h 6524625"/>
              <a:gd name="connsiteX994" fmla="*/ 10467950 w 12192000"/>
              <a:gd name="connsiteY994" fmla="*/ 6155293 h 6524625"/>
              <a:gd name="connsiteX995" fmla="*/ 10466356 w 12192000"/>
              <a:gd name="connsiteY995" fmla="*/ 6154802 h 6524625"/>
              <a:gd name="connsiteX996" fmla="*/ 10464762 w 12192000"/>
              <a:gd name="connsiteY996" fmla="*/ 6154189 h 6524625"/>
              <a:gd name="connsiteX997" fmla="*/ 10463413 w 12192000"/>
              <a:gd name="connsiteY997" fmla="*/ 6153331 h 6524625"/>
              <a:gd name="connsiteX998" fmla="*/ 10462187 w 12192000"/>
              <a:gd name="connsiteY998" fmla="*/ 6152473 h 6524625"/>
              <a:gd name="connsiteX999" fmla="*/ 10461084 w 12192000"/>
              <a:gd name="connsiteY999" fmla="*/ 6151615 h 6524625"/>
              <a:gd name="connsiteX1000" fmla="*/ 10460103 w 12192000"/>
              <a:gd name="connsiteY1000" fmla="*/ 6150511 h 6524625"/>
              <a:gd name="connsiteX1001" fmla="*/ 10459245 w 12192000"/>
              <a:gd name="connsiteY1001" fmla="*/ 6149162 h 6524625"/>
              <a:gd name="connsiteX1002" fmla="*/ 10458509 w 12192000"/>
              <a:gd name="connsiteY1002" fmla="*/ 6147814 h 6524625"/>
              <a:gd name="connsiteX1003" fmla="*/ 10457896 w 12192000"/>
              <a:gd name="connsiteY1003" fmla="*/ 6146342 h 6524625"/>
              <a:gd name="connsiteX1004" fmla="*/ 10457406 w 12192000"/>
              <a:gd name="connsiteY1004" fmla="*/ 6144749 h 6524625"/>
              <a:gd name="connsiteX1005" fmla="*/ 10457038 w 12192000"/>
              <a:gd name="connsiteY1005" fmla="*/ 6143032 h 6524625"/>
              <a:gd name="connsiteX1006" fmla="*/ 10456915 w 12192000"/>
              <a:gd name="connsiteY1006" fmla="*/ 6141193 h 6524625"/>
              <a:gd name="connsiteX1007" fmla="*/ 10456793 w 12192000"/>
              <a:gd name="connsiteY1007" fmla="*/ 6139231 h 6524625"/>
              <a:gd name="connsiteX1008" fmla="*/ 10512947 w 12192000"/>
              <a:gd name="connsiteY1008" fmla="*/ 6139231 h 6524625"/>
              <a:gd name="connsiteX1009" fmla="*/ 10512947 w 12192000"/>
              <a:gd name="connsiteY1009" fmla="*/ 6136411 h 6524625"/>
              <a:gd name="connsiteX1010" fmla="*/ 10512947 w 12192000"/>
              <a:gd name="connsiteY1010" fmla="*/ 6134082 h 6524625"/>
              <a:gd name="connsiteX1011" fmla="*/ 10512824 w 12192000"/>
              <a:gd name="connsiteY1011" fmla="*/ 6131752 h 6524625"/>
              <a:gd name="connsiteX1012" fmla="*/ 10512579 w 12192000"/>
              <a:gd name="connsiteY1012" fmla="*/ 6129545 h 6524625"/>
              <a:gd name="connsiteX1013" fmla="*/ 10512334 w 12192000"/>
              <a:gd name="connsiteY1013" fmla="*/ 6127338 h 6524625"/>
              <a:gd name="connsiteX1014" fmla="*/ 10511966 w 12192000"/>
              <a:gd name="connsiteY1014" fmla="*/ 6125254 h 6524625"/>
              <a:gd name="connsiteX1015" fmla="*/ 10511476 w 12192000"/>
              <a:gd name="connsiteY1015" fmla="*/ 6123047 h 6524625"/>
              <a:gd name="connsiteX1016" fmla="*/ 10510863 w 12192000"/>
              <a:gd name="connsiteY1016" fmla="*/ 6121085 h 6524625"/>
              <a:gd name="connsiteX1017" fmla="*/ 10510250 w 12192000"/>
              <a:gd name="connsiteY1017" fmla="*/ 6119124 h 6524625"/>
              <a:gd name="connsiteX1018" fmla="*/ 10509514 w 12192000"/>
              <a:gd name="connsiteY1018" fmla="*/ 6117284 h 6524625"/>
              <a:gd name="connsiteX1019" fmla="*/ 10508656 w 12192000"/>
              <a:gd name="connsiteY1019" fmla="*/ 6115568 h 6524625"/>
              <a:gd name="connsiteX1020" fmla="*/ 10507797 w 12192000"/>
              <a:gd name="connsiteY1020" fmla="*/ 6113729 h 6524625"/>
              <a:gd name="connsiteX1021" fmla="*/ 10506939 w 12192000"/>
              <a:gd name="connsiteY1021" fmla="*/ 6112135 h 6524625"/>
              <a:gd name="connsiteX1022" fmla="*/ 10505713 w 12192000"/>
              <a:gd name="connsiteY1022" fmla="*/ 6110418 h 6524625"/>
              <a:gd name="connsiteX1023" fmla="*/ 10504610 w 12192000"/>
              <a:gd name="connsiteY1023" fmla="*/ 6108947 h 6524625"/>
              <a:gd name="connsiteX1024" fmla="*/ 10503506 w 12192000"/>
              <a:gd name="connsiteY1024" fmla="*/ 6107476 h 6524625"/>
              <a:gd name="connsiteX1025" fmla="*/ 10502158 w 12192000"/>
              <a:gd name="connsiteY1025" fmla="*/ 6106005 h 6524625"/>
              <a:gd name="connsiteX1026" fmla="*/ 10500809 w 12192000"/>
              <a:gd name="connsiteY1026" fmla="*/ 6104778 h 6524625"/>
              <a:gd name="connsiteX1027" fmla="*/ 10499460 w 12192000"/>
              <a:gd name="connsiteY1027" fmla="*/ 6103552 h 6524625"/>
              <a:gd name="connsiteX1028" fmla="*/ 10497866 w 12192000"/>
              <a:gd name="connsiteY1028" fmla="*/ 6102326 h 6524625"/>
              <a:gd name="connsiteX1029" fmla="*/ 10496272 w 12192000"/>
              <a:gd name="connsiteY1029" fmla="*/ 6101223 h 6524625"/>
              <a:gd name="connsiteX1030" fmla="*/ 10494556 w 12192000"/>
              <a:gd name="connsiteY1030" fmla="*/ 6100242 h 6524625"/>
              <a:gd name="connsiteX1031" fmla="*/ 10492962 w 12192000"/>
              <a:gd name="connsiteY1031" fmla="*/ 6099384 h 6524625"/>
              <a:gd name="connsiteX1032" fmla="*/ 10491123 w 12192000"/>
              <a:gd name="connsiteY1032" fmla="*/ 6098525 h 6524625"/>
              <a:gd name="connsiteX1033" fmla="*/ 10489284 w 12192000"/>
              <a:gd name="connsiteY1033" fmla="*/ 6097667 h 6524625"/>
              <a:gd name="connsiteX1034" fmla="*/ 10487199 w 12192000"/>
              <a:gd name="connsiteY1034" fmla="*/ 6097054 h 6524625"/>
              <a:gd name="connsiteX1035" fmla="*/ 10485360 w 12192000"/>
              <a:gd name="connsiteY1035" fmla="*/ 6096441 h 6524625"/>
              <a:gd name="connsiteX1036" fmla="*/ 10483153 w 12192000"/>
              <a:gd name="connsiteY1036" fmla="*/ 6095951 h 6524625"/>
              <a:gd name="connsiteX1037" fmla="*/ 10481069 w 12192000"/>
              <a:gd name="connsiteY1037" fmla="*/ 6095583 h 6524625"/>
              <a:gd name="connsiteX1038" fmla="*/ 10478862 w 12192000"/>
              <a:gd name="connsiteY1038" fmla="*/ 6095215 h 6524625"/>
              <a:gd name="connsiteX1039" fmla="*/ 10476655 w 12192000"/>
              <a:gd name="connsiteY1039" fmla="*/ 6095092 h 6524625"/>
              <a:gd name="connsiteX1040" fmla="*/ 10474203 w 12192000"/>
              <a:gd name="connsiteY1040" fmla="*/ 6094970 h 6524625"/>
              <a:gd name="connsiteX1041" fmla="*/ 10291967 w 12192000"/>
              <a:gd name="connsiteY1041" fmla="*/ 6094847 h 6524625"/>
              <a:gd name="connsiteX1042" fmla="*/ 10289728 w 12192000"/>
              <a:gd name="connsiteY1042" fmla="*/ 6095092 h 6524625"/>
              <a:gd name="connsiteX1043" fmla="*/ 10287614 w 12192000"/>
              <a:gd name="connsiteY1043" fmla="*/ 6095215 h 6524625"/>
              <a:gd name="connsiteX1044" fmla="*/ 10285499 w 12192000"/>
              <a:gd name="connsiteY1044" fmla="*/ 6095583 h 6524625"/>
              <a:gd name="connsiteX1045" fmla="*/ 10283385 w 12192000"/>
              <a:gd name="connsiteY1045" fmla="*/ 6095951 h 6524625"/>
              <a:gd name="connsiteX1046" fmla="*/ 10281395 w 12192000"/>
              <a:gd name="connsiteY1046" fmla="*/ 6096441 h 6524625"/>
              <a:gd name="connsiteX1047" fmla="*/ 10279281 w 12192000"/>
              <a:gd name="connsiteY1047" fmla="*/ 6097054 h 6524625"/>
              <a:gd name="connsiteX1048" fmla="*/ 10277415 w 12192000"/>
              <a:gd name="connsiteY1048" fmla="*/ 6097790 h 6524625"/>
              <a:gd name="connsiteX1049" fmla="*/ 10275550 w 12192000"/>
              <a:gd name="connsiteY1049" fmla="*/ 6098648 h 6524625"/>
              <a:gd name="connsiteX1050" fmla="*/ 10273684 w 12192000"/>
              <a:gd name="connsiteY1050" fmla="*/ 6099384 h 6524625"/>
              <a:gd name="connsiteX1051" fmla="*/ 10271819 w 12192000"/>
              <a:gd name="connsiteY1051" fmla="*/ 6100365 h 6524625"/>
              <a:gd name="connsiteX1052" fmla="*/ 10270202 w 12192000"/>
              <a:gd name="connsiteY1052" fmla="*/ 6101345 h 6524625"/>
              <a:gd name="connsiteX1053" fmla="*/ 10268461 w 12192000"/>
              <a:gd name="connsiteY1053" fmla="*/ 6102326 h 6524625"/>
              <a:gd name="connsiteX1054" fmla="*/ 10266968 w 12192000"/>
              <a:gd name="connsiteY1054" fmla="*/ 6103675 h 6524625"/>
              <a:gd name="connsiteX1055" fmla="*/ 10265476 w 12192000"/>
              <a:gd name="connsiteY1055" fmla="*/ 6104778 h 6524625"/>
              <a:gd name="connsiteX1056" fmla="*/ 10263859 w 12192000"/>
              <a:gd name="connsiteY1056" fmla="*/ 6106127 h 6524625"/>
              <a:gd name="connsiteX1057" fmla="*/ 10262491 w 12192000"/>
              <a:gd name="connsiteY1057" fmla="*/ 6107598 h 6524625"/>
              <a:gd name="connsiteX1058" fmla="*/ 10261247 w 12192000"/>
              <a:gd name="connsiteY1058" fmla="*/ 6108947 h 6524625"/>
              <a:gd name="connsiteX1059" fmla="*/ 10259879 w 12192000"/>
              <a:gd name="connsiteY1059" fmla="*/ 6110418 h 6524625"/>
              <a:gd name="connsiteX1060" fmla="*/ 10258760 w 12192000"/>
              <a:gd name="connsiteY1060" fmla="*/ 6112135 h 6524625"/>
              <a:gd name="connsiteX1061" fmla="*/ 10257640 w 12192000"/>
              <a:gd name="connsiteY1061" fmla="*/ 6113729 h 6524625"/>
              <a:gd name="connsiteX1062" fmla="*/ 10256645 w 12192000"/>
              <a:gd name="connsiteY1062" fmla="*/ 6115323 h 6524625"/>
              <a:gd name="connsiteX1063" fmla="*/ 10255650 w 12192000"/>
              <a:gd name="connsiteY1063" fmla="*/ 6117162 h 6524625"/>
              <a:gd name="connsiteX1064" fmla="*/ 10254904 w 12192000"/>
              <a:gd name="connsiteY1064" fmla="*/ 6119001 h 6524625"/>
              <a:gd name="connsiteX1065" fmla="*/ 10254158 w 12192000"/>
              <a:gd name="connsiteY1065" fmla="*/ 6120840 h 6524625"/>
              <a:gd name="connsiteX1066" fmla="*/ 10253412 w 12192000"/>
              <a:gd name="connsiteY1066" fmla="*/ 6122802 h 6524625"/>
              <a:gd name="connsiteX1067" fmla="*/ 10252790 w 12192000"/>
              <a:gd name="connsiteY1067" fmla="*/ 6124886 h 6524625"/>
              <a:gd name="connsiteX1068" fmla="*/ 10252417 w 12192000"/>
              <a:gd name="connsiteY1068" fmla="*/ 6126848 h 6524625"/>
              <a:gd name="connsiteX1069" fmla="*/ 10252043 w 12192000"/>
              <a:gd name="connsiteY1069" fmla="*/ 6128932 h 6524625"/>
              <a:gd name="connsiteX1070" fmla="*/ 10251795 w 12192000"/>
              <a:gd name="connsiteY1070" fmla="*/ 6131017 h 6524625"/>
              <a:gd name="connsiteX1071" fmla="*/ 10251670 w 12192000"/>
              <a:gd name="connsiteY1071" fmla="*/ 6133223 h 6524625"/>
              <a:gd name="connsiteX1072" fmla="*/ 10251546 w 12192000"/>
              <a:gd name="connsiteY1072" fmla="*/ 6135430 h 6524625"/>
              <a:gd name="connsiteX1073" fmla="*/ 10251670 w 12192000"/>
              <a:gd name="connsiteY1073" fmla="*/ 6137637 h 6524625"/>
              <a:gd name="connsiteX1074" fmla="*/ 10251795 w 12192000"/>
              <a:gd name="connsiteY1074" fmla="*/ 6139599 h 6524625"/>
              <a:gd name="connsiteX1075" fmla="*/ 10252043 w 12192000"/>
              <a:gd name="connsiteY1075" fmla="*/ 6141683 h 6524625"/>
              <a:gd name="connsiteX1076" fmla="*/ 10252417 w 12192000"/>
              <a:gd name="connsiteY1076" fmla="*/ 6143645 h 6524625"/>
              <a:gd name="connsiteX1077" fmla="*/ 10252790 w 12192000"/>
              <a:gd name="connsiteY1077" fmla="*/ 6145607 h 6524625"/>
              <a:gd name="connsiteX1078" fmla="*/ 10253412 w 12192000"/>
              <a:gd name="connsiteY1078" fmla="*/ 6147446 h 6524625"/>
              <a:gd name="connsiteX1079" fmla="*/ 10254158 w 12192000"/>
              <a:gd name="connsiteY1079" fmla="*/ 6149285 h 6524625"/>
              <a:gd name="connsiteX1080" fmla="*/ 10254904 w 12192000"/>
              <a:gd name="connsiteY1080" fmla="*/ 6151124 h 6524625"/>
              <a:gd name="connsiteX1081" fmla="*/ 10255650 w 12192000"/>
              <a:gd name="connsiteY1081" fmla="*/ 6152841 h 6524625"/>
              <a:gd name="connsiteX1082" fmla="*/ 10256645 w 12192000"/>
              <a:gd name="connsiteY1082" fmla="*/ 6154557 h 6524625"/>
              <a:gd name="connsiteX1083" fmla="*/ 10257640 w 12192000"/>
              <a:gd name="connsiteY1083" fmla="*/ 6156151 h 6524625"/>
              <a:gd name="connsiteX1084" fmla="*/ 10258760 w 12192000"/>
              <a:gd name="connsiteY1084" fmla="*/ 6157745 h 6524625"/>
              <a:gd name="connsiteX1085" fmla="*/ 10259879 w 12192000"/>
              <a:gd name="connsiteY1085" fmla="*/ 6159339 h 6524625"/>
              <a:gd name="connsiteX1086" fmla="*/ 10261247 w 12192000"/>
              <a:gd name="connsiteY1086" fmla="*/ 6160688 h 6524625"/>
              <a:gd name="connsiteX1087" fmla="*/ 10262491 w 12192000"/>
              <a:gd name="connsiteY1087" fmla="*/ 6162036 h 6524625"/>
              <a:gd name="connsiteX1088" fmla="*/ 10263734 w 12192000"/>
              <a:gd name="connsiteY1088" fmla="*/ 6163508 h 6524625"/>
              <a:gd name="connsiteX1089" fmla="*/ 10265351 w 12192000"/>
              <a:gd name="connsiteY1089" fmla="*/ 6164734 h 6524625"/>
              <a:gd name="connsiteX1090" fmla="*/ 10266719 w 12192000"/>
              <a:gd name="connsiteY1090" fmla="*/ 6165960 h 6524625"/>
              <a:gd name="connsiteX1091" fmla="*/ 10268336 w 12192000"/>
              <a:gd name="connsiteY1091" fmla="*/ 6167186 h 6524625"/>
              <a:gd name="connsiteX1092" fmla="*/ 10269953 w 12192000"/>
              <a:gd name="connsiteY1092" fmla="*/ 6168167 h 6524625"/>
              <a:gd name="connsiteX1093" fmla="*/ 10271570 w 12192000"/>
              <a:gd name="connsiteY1093" fmla="*/ 6169148 h 6524625"/>
              <a:gd name="connsiteX1094" fmla="*/ 10273435 w 12192000"/>
              <a:gd name="connsiteY1094" fmla="*/ 6170006 h 6524625"/>
              <a:gd name="connsiteX1095" fmla="*/ 10275177 w 12192000"/>
              <a:gd name="connsiteY1095" fmla="*/ 6170864 h 6524625"/>
              <a:gd name="connsiteX1096" fmla="*/ 10277042 w 12192000"/>
              <a:gd name="connsiteY1096" fmla="*/ 6171600 h 6524625"/>
              <a:gd name="connsiteX1097" fmla="*/ 10278783 w 12192000"/>
              <a:gd name="connsiteY1097" fmla="*/ 6172335 h 6524625"/>
              <a:gd name="connsiteX1098" fmla="*/ 10280773 w 12192000"/>
              <a:gd name="connsiteY1098" fmla="*/ 6172826 h 6524625"/>
              <a:gd name="connsiteX1099" fmla="*/ 10282763 w 12192000"/>
              <a:gd name="connsiteY1099" fmla="*/ 6173439 h 6524625"/>
              <a:gd name="connsiteX1100" fmla="*/ 10284753 w 12192000"/>
              <a:gd name="connsiteY1100" fmla="*/ 6173807 h 6524625"/>
              <a:gd name="connsiteX1101" fmla="*/ 10286743 w 12192000"/>
              <a:gd name="connsiteY1101" fmla="*/ 6174052 h 6524625"/>
              <a:gd name="connsiteX1102" fmla="*/ 10288858 w 12192000"/>
              <a:gd name="connsiteY1102" fmla="*/ 6174297 h 6524625"/>
              <a:gd name="connsiteX1103" fmla="*/ 10290847 w 12192000"/>
              <a:gd name="connsiteY1103" fmla="*/ 6174420 h 6524625"/>
              <a:gd name="connsiteX1104" fmla="*/ 10292962 w 12192000"/>
              <a:gd name="connsiteY1104" fmla="*/ 6174542 h 6524625"/>
              <a:gd name="connsiteX1105" fmla="*/ 10295449 w 12192000"/>
              <a:gd name="connsiteY1105" fmla="*/ 6174420 h 6524625"/>
              <a:gd name="connsiteX1106" fmla="*/ 10297937 w 12192000"/>
              <a:gd name="connsiteY1106" fmla="*/ 6174297 h 6524625"/>
              <a:gd name="connsiteX1107" fmla="*/ 10300300 w 12192000"/>
              <a:gd name="connsiteY1107" fmla="*/ 6173929 h 6524625"/>
              <a:gd name="connsiteX1108" fmla="*/ 10302787 w 12192000"/>
              <a:gd name="connsiteY1108" fmla="*/ 6173561 h 6524625"/>
              <a:gd name="connsiteX1109" fmla="*/ 10305150 w 12192000"/>
              <a:gd name="connsiteY1109" fmla="*/ 6172948 h 6524625"/>
              <a:gd name="connsiteX1110" fmla="*/ 10307513 w 12192000"/>
              <a:gd name="connsiteY1110" fmla="*/ 6172213 h 6524625"/>
              <a:gd name="connsiteX1111" fmla="*/ 10309752 w 12192000"/>
              <a:gd name="connsiteY1111" fmla="*/ 6171354 h 6524625"/>
              <a:gd name="connsiteX1112" fmla="*/ 10312115 w 12192000"/>
              <a:gd name="connsiteY1112" fmla="*/ 6170251 h 6524625"/>
              <a:gd name="connsiteX1113" fmla="*/ 10312115 w 12192000"/>
              <a:gd name="connsiteY1113" fmla="*/ 6147814 h 6524625"/>
              <a:gd name="connsiteX1114" fmla="*/ 10310747 w 12192000"/>
              <a:gd name="connsiteY1114" fmla="*/ 6148917 h 6524625"/>
              <a:gd name="connsiteX1115" fmla="*/ 10309130 w 12192000"/>
              <a:gd name="connsiteY1115" fmla="*/ 6150021 h 6524625"/>
              <a:gd name="connsiteX1116" fmla="*/ 10307513 w 12192000"/>
              <a:gd name="connsiteY1116" fmla="*/ 6150879 h 6524625"/>
              <a:gd name="connsiteX1117" fmla="*/ 10305648 w 12192000"/>
              <a:gd name="connsiteY1117" fmla="*/ 6151615 h 6524625"/>
              <a:gd name="connsiteX1118" fmla="*/ 10303906 w 12192000"/>
              <a:gd name="connsiteY1118" fmla="*/ 6152105 h 6524625"/>
              <a:gd name="connsiteX1119" fmla="*/ 10302041 w 12192000"/>
              <a:gd name="connsiteY1119" fmla="*/ 6152595 h 6524625"/>
              <a:gd name="connsiteX1120" fmla="*/ 10300300 w 12192000"/>
              <a:gd name="connsiteY1120" fmla="*/ 6152841 h 6524625"/>
              <a:gd name="connsiteX1121" fmla="*/ 10298434 w 12192000"/>
              <a:gd name="connsiteY1121" fmla="*/ 6152841 h 6524625"/>
              <a:gd name="connsiteX1122" fmla="*/ 10296444 w 12192000"/>
              <a:gd name="connsiteY1122" fmla="*/ 6152841 h 6524625"/>
              <a:gd name="connsiteX1123" fmla="*/ 10294454 w 12192000"/>
              <a:gd name="connsiteY1123" fmla="*/ 6152595 h 6524625"/>
              <a:gd name="connsiteX1124" fmla="*/ 10292589 w 12192000"/>
              <a:gd name="connsiteY1124" fmla="*/ 6152105 h 6524625"/>
              <a:gd name="connsiteX1125" fmla="*/ 10290723 w 12192000"/>
              <a:gd name="connsiteY1125" fmla="*/ 6151615 h 6524625"/>
              <a:gd name="connsiteX1126" fmla="*/ 10289106 w 12192000"/>
              <a:gd name="connsiteY1126" fmla="*/ 6150879 h 6524625"/>
              <a:gd name="connsiteX1127" fmla="*/ 10287614 w 12192000"/>
              <a:gd name="connsiteY1127" fmla="*/ 6150021 h 6524625"/>
              <a:gd name="connsiteX1128" fmla="*/ 10286121 w 12192000"/>
              <a:gd name="connsiteY1128" fmla="*/ 6148917 h 6524625"/>
              <a:gd name="connsiteX1129" fmla="*/ 10284878 w 12192000"/>
              <a:gd name="connsiteY1129" fmla="*/ 6147814 h 6524625"/>
              <a:gd name="connsiteX1130" fmla="*/ 10283510 w 12192000"/>
              <a:gd name="connsiteY1130" fmla="*/ 6146588 h 6524625"/>
              <a:gd name="connsiteX1131" fmla="*/ 10282515 w 12192000"/>
              <a:gd name="connsiteY1131" fmla="*/ 6145116 h 6524625"/>
              <a:gd name="connsiteX1132" fmla="*/ 10281644 w 12192000"/>
              <a:gd name="connsiteY1132" fmla="*/ 6143645 h 6524625"/>
              <a:gd name="connsiteX1133" fmla="*/ 10280898 w 12192000"/>
              <a:gd name="connsiteY1133" fmla="*/ 6142051 h 6524625"/>
              <a:gd name="connsiteX1134" fmla="*/ 10280276 w 12192000"/>
              <a:gd name="connsiteY1134" fmla="*/ 6140212 h 6524625"/>
              <a:gd name="connsiteX1135" fmla="*/ 10279778 w 12192000"/>
              <a:gd name="connsiteY1135" fmla="*/ 6138496 h 6524625"/>
              <a:gd name="connsiteX1136" fmla="*/ 10279530 w 12192000"/>
              <a:gd name="connsiteY1136" fmla="*/ 6136534 h 6524625"/>
              <a:gd name="connsiteX1137" fmla="*/ 10279405 w 12192000"/>
              <a:gd name="connsiteY1137" fmla="*/ 6134572 h 6524625"/>
              <a:gd name="connsiteX1138" fmla="*/ 10279530 w 12192000"/>
              <a:gd name="connsiteY1138" fmla="*/ 6132733 h 6524625"/>
              <a:gd name="connsiteX1139" fmla="*/ 10279778 w 12192000"/>
              <a:gd name="connsiteY1139" fmla="*/ 6130894 h 6524625"/>
              <a:gd name="connsiteX1140" fmla="*/ 10280400 w 12192000"/>
              <a:gd name="connsiteY1140" fmla="*/ 6129177 h 6524625"/>
              <a:gd name="connsiteX1141" fmla="*/ 10280898 w 12192000"/>
              <a:gd name="connsiteY1141" fmla="*/ 6127338 h 6524625"/>
              <a:gd name="connsiteX1142" fmla="*/ 10281644 w 12192000"/>
              <a:gd name="connsiteY1142" fmla="*/ 6125867 h 6524625"/>
              <a:gd name="connsiteX1143" fmla="*/ 10282515 w 12192000"/>
              <a:gd name="connsiteY1143" fmla="*/ 6124396 h 6524625"/>
              <a:gd name="connsiteX1144" fmla="*/ 10283758 w 12192000"/>
              <a:gd name="connsiteY1144" fmla="*/ 6122924 h 6524625"/>
              <a:gd name="connsiteX1145" fmla="*/ 10284878 w 12192000"/>
              <a:gd name="connsiteY1145" fmla="*/ 6121698 h 6524625"/>
              <a:gd name="connsiteX1146" fmla="*/ 10286121 w 12192000"/>
              <a:gd name="connsiteY1146" fmla="*/ 6120472 h 6524625"/>
              <a:gd name="connsiteX1147" fmla="*/ 10287614 w 12192000"/>
              <a:gd name="connsiteY1147" fmla="*/ 6119369 h 6524625"/>
              <a:gd name="connsiteX1148" fmla="*/ 10289106 w 12192000"/>
              <a:gd name="connsiteY1148" fmla="*/ 6118511 h 6524625"/>
              <a:gd name="connsiteX1149" fmla="*/ 10290723 w 12192000"/>
              <a:gd name="connsiteY1149" fmla="*/ 6117775 h 6524625"/>
              <a:gd name="connsiteX1150" fmla="*/ 10292464 w 12192000"/>
              <a:gd name="connsiteY1150" fmla="*/ 6117284 h 6524625"/>
              <a:gd name="connsiteX1151" fmla="*/ 10294205 w 12192000"/>
              <a:gd name="connsiteY1151" fmla="*/ 6116794 h 6524625"/>
              <a:gd name="connsiteX1152" fmla="*/ 10296195 w 12192000"/>
              <a:gd name="connsiteY1152" fmla="*/ 6116549 h 6524625"/>
              <a:gd name="connsiteX1153" fmla="*/ 10298061 w 12192000"/>
              <a:gd name="connsiteY1153" fmla="*/ 6116426 h 6524625"/>
              <a:gd name="connsiteX1154" fmla="*/ 10300051 w 12192000"/>
              <a:gd name="connsiteY1154" fmla="*/ 6116549 h 6524625"/>
              <a:gd name="connsiteX1155" fmla="*/ 10301792 w 12192000"/>
              <a:gd name="connsiteY1155" fmla="*/ 6116917 h 6524625"/>
              <a:gd name="connsiteX1156" fmla="*/ 10303782 w 12192000"/>
              <a:gd name="connsiteY1156" fmla="*/ 6117284 h 6524625"/>
              <a:gd name="connsiteX1157" fmla="*/ 10305523 w 12192000"/>
              <a:gd name="connsiteY1157" fmla="*/ 6117897 h 6524625"/>
              <a:gd name="connsiteX1158" fmla="*/ 10307265 w 12192000"/>
              <a:gd name="connsiteY1158" fmla="*/ 6118756 h 6524625"/>
              <a:gd name="connsiteX1159" fmla="*/ 10308881 w 12192000"/>
              <a:gd name="connsiteY1159" fmla="*/ 6119614 h 6524625"/>
              <a:gd name="connsiteX1160" fmla="*/ 10310623 w 12192000"/>
              <a:gd name="connsiteY1160" fmla="*/ 6120595 h 6524625"/>
              <a:gd name="connsiteX1161" fmla="*/ 10312115 w 12192000"/>
              <a:gd name="connsiteY1161" fmla="*/ 6121698 h 6524625"/>
              <a:gd name="connsiteX1162" fmla="*/ 10312115 w 12192000"/>
              <a:gd name="connsiteY1162" fmla="*/ 6099261 h 6524625"/>
              <a:gd name="connsiteX1163" fmla="*/ 10310125 w 12192000"/>
              <a:gd name="connsiteY1163" fmla="*/ 6098158 h 6524625"/>
              <a:gd name="connsiteX1164" fmla="*/ 10307886 w 12192000"/>
              <a:gd name="connsiteY1164" fmla="*/ 6097299 h 6524625"/>
              <a:gd name="connsiteX1165" fmla="*/ 10305648 w 12192000"/>
              <a:gd name="connsiteY1165" fmla="*/ 6096564 h 6524625"/>
              <a:gd name="connsiteX1166" fmla="*/ 10303533 w 12192000"/>
              <a:gd name="connsiteY1166" fmla="*/ 6095951 h 6524625"/>
              <a:gd name="connsiteX1167" fmla="*/ 10301170 w 12192000"/>
              <a:gd name="connsiteY1167" fmla="*/ 6095460 h 6524625"/>
              <a:gd name="connsiteX1168" fmla="*/ 10298932 w 12192000"/>
              <a:gd name="connsiteY1168" fmla="*/ 6095092 h 6524625"/>
              <a:gd name="connsiteX1169" fmla="*/ 10296569 w 12192000"/>
              <a:gd name="connsiteY1169" fmla="*/ 6094970 h 6524625"/>
              <a:gd name="connsiteX1170" fmla="*/ 10294205 w 12192000"/>
              <a:gd name="connsiteY1170" fmla="*/ 6094847 h 6524625"/>
              <a:gd name="connsiteX1171" fmla="*/ 10160944 w 12192000"/>
              <a:gd name="connsiteY1171" fmla="*/ 6094847 h 6524625"/>
              <a:gd name="connsiteX1172" fmla="*/ 10157908 w 12192000"/>
              <a:gd name="connsiteY1172" fmla="*/ 6094970 h 6524625"/>
              <a:gd name="connsiteX1173" fmla="*/ 10154993 w 12192000"/>
              <a:gd name="connsiteY1173" fmla="*/ 6095215 h 6524625"/>
              <a:gd name="connsiteX1174" fmla="*/ 10151956 w 12192000"/>
              <a:gd name="connsiteY1174" fmla="*/ 6095706 h 6524625"/>
              <a:gd name="connsiteX1175" fmla="*/ 10148919 w 12192000"/>
              <a:gd name="connsiteY1175" fmla="*/ 6096319 h 6524625"/>
              <a:gd name="connsiteX1176" fmla="*/ 10146125 w 12192000"/>
              <a:gd name="connsiteY1176" fmla="*/ 6097177 h 6524625"/>
              <a:gd name="connsiteX1177" fmla="*/ 10143332 w 12192000"/>
              <a:gd name="connsiteY1177" fmla="*/ 6098280 h 6524625"/>
              <a:gd name="connsiteX1178" fmla="*/ 10142117 w 12192000"/>
              <a:gd name="connsiteY1178" fmla="*/ 6099016 h 6524625"/>
              <a:gd name="connsiteX1179" fmla="*/ 10140902 w 12192000"/>
              <a:gd name="connsiteY1179" fmla="*/ 6099629 h 6524625"/>
              <a:gd name="connsiteX1180" fmla="*/ 10139566 w 12192000"/>
              <a:gd name="connsiteY1180" fmla="*/ 6100365 h 6524625"/>
              <a:gd name="connsiteX1181" fmla="*/ 10138351 w 12192000"/>
              <a:gd name="connsiteY1181" fmla="*/ 6101100 h 6524625"/>
              <a:gd name="connsiteX1182" fmla="*/ 10137258 w 12192000"/>
              <a:gd name="connsiteY1182" fmla="*/ 6101958 h 6524625"/>
              <a:gd name="connsiteX1183" fmla="*/ 10136165 w 12192000"/>
              <a:gd name="connsiteY1183" fmla="*/ 6102939 h 6524625"/>
              <a:gd name="connsiteX1184" fmla="*/ 10135072 w 12192000"/>
              <a:gd name="connsiteY1184" fmla="*/ 6103920 h 6524625"/>
              <a:gd name="connsiteX1185" fmla="*/ 10134221 w 12192000"/>
              <a:gd name="connsiteY1185" fmla="*/ 6104901 h 6524625"/>
              <a:gd name="connsiteX1186" fmla="*/ 10133250 w 12192000"/>
              <a:gd name="connsiteY1186" fmla="*/ 6105882 h 6524625"/>
              <a:gd name="connsiteX1187" fmla="*/ 10132399 w 12192000"/>
              <a:gd name="connsiteY1187" fmla="*/ 6107108 h 6524625"/>
              <a:gd name="connsiteX1188" fmla="*/ 10131549 w 12192000"/>
              <a:gd name="connsiteY1188" fmla="*/ 6108211 h 6524625"/>
              <a:gd name="connsiteX1189" fmla="*/ 10130942 w 12192000"/>
              <a:gd name="connsiteY1189" fmla="*/ 6109438 h 6524625"/>
              <a:gd name="connsiteX1190" fmla="*/ 10130334 w 12192000"/>
              <a:gd name="connsiteY1190" fmla="*/ 6110664 h 6524625"/>
              <a:gd name="connsiteX1191" fmla="*/ 10129727 w 12192000"/>
              <a:gd name="connsiteY1191" fmla="*/ 6112135 h 6524625"/>
              <a:gd name="connsiteX1192" fmla="*/ 10129241 w 12192000"/>
              <a:gd name="connsiteY1192" fmla="*/ 6113484 h 6524625"/>
              <a:gd name="connsiteX1193" fmla="*/ 10128755 w 12192000"/>
              <a:gd name="connsiteY1193" fmla="*/ 6114832 h 6524625"/>
              <a:gd name="connsiteX1194" fmla="*/ 10128512 w 12192000"/>
              <a:gd name="connsiteY1194" fmla="*/ 6116426 h 6524625"/>
              <a:gd name="connsiteX1195" fmla="*/ 10128269 w 12192000"/>
              <a:gd name="connsiteY1195" fmla="*/ 6118020 h 6524625"/>
              <a:gd name="connsiteX1196" fmla="*/ 10128148 w 12192000"/>
              <a:gd name="connsiteY1196" fmla="*/ 6119614 h 6524625"/>
              <a:gd name="connsiteX1197" fmla="*/ 10128027 w 12192000"/>
              <a:gd name="connsiteY1197" fmla="*/ 6121331 h 6524625"/>
              <a:gd name="connsiteX1198" fmla="*/ 10128148 w 12192000"/>
              <a:gd name="connsiteY1198" fmla="*/ 6123660 h 6524625"/>
              <a:gd name="connsiteX1199" fmla="*/ 10128391 w 12192000"/>
              <a:gd name="connsiteY1199" fmla="*/ 6125990 h 6524625"/>
              <a:gd name="connsiteX1200" fmla="*/ 10128877 w 12192000"/>
              <a:gd name="connsiteY1200" fmla="*/ 6127829 h 6524625"/>
              <a:gd name="connsiteX1201" fmla="*/ 10129606 w 12192000"/>
              <a:gd name="connsiteY1201" fmla="*/ 6129790 h 6524625"/>
              <a:gd name="connsiteX1202" fmla="*/ 10130213 w 12192000"/>
              <a:gd name="connsiteY1202" fmla="*/ 6131384 h 6524625"/>
              <a:gd name="connsiteX1203" fmla="*/ 10131063 w 12192000"/>
              <a:gd name="connsiteY1203" fmla="*/ 6132978 h 6524625"/>
              <a:gd name="connsiteX1204" fmla="*/ 10132035 w 12192000"/>
              <a:gd name="connsiteY1204" fmla="*/ 6134204 h 6524625"/>
              <a:gd name="connsiteX1205" fmla="*/ 10133250 w 12192000"/>
              <a:gd name="connsiteY1205" fmla="*/ 6135430 h 6524625"/>
              <a:gd name="connsiteX1206" fmla="*/ 10134464 w 12192000"/>
              <a:gd name="connsiteY1206" fmla="*/ 6136411 h 6524625"/>
              <a:gd name="connsiteX1207" fmla="*/ 10135679 w 12192000"/>
              <a:gd name="connsiteY1207" fmla="*/ 6137392 h 6524625"/>
              <a:gd name="connsiteX1208" fmla="*/ 10137137 w 12192000"/>
              <a:gd name="connsiteY1208" fmla="*/ 6138250 h 6524625"/>
              <a:gd name="connsiteX1209" fmla="*/ 10138594 w 12192000"/>
              <a:gd name="connsiteY1209" fmla="*/ 6138986 h 6524625"/>
              <a:gd name="connsiteX1210" fmla="*/ 10139930 w 12192000"/>
              <a:gd name="connsiteY1210" fmla="*/ 6139599 h 6524625"/>
              <a:gd name="connsiteX1211" fmla="*/ 10141510 w 12192000"/>
              <a:gd name="connsiteY1211" fmla="*/ 6140089 h 6524625"/>
              <a:gd name="connsiteX1212" fmla="*/ 10143089 w 12192000"/>
              <a:gd name="connsiteY1212" fmla="*/ 6140580 h 6524625"/>
              <a:gd name="connsiteX1213" fmla="*/ 10144668 w 12192000"/>
              <a:gd name="connsiteY1213" fmla="*/ 6140948 h 6524625"/>
              <a:gd name="connsiteX1214" fmla="*/ 10150741 w 12192000"/>
              <a:gd name="connsiteY1214" fmla="*/ 6142419 h 6524625"/>
              <a:gd name="connsiteX1215" fmla="*/ 10156086 w 12192000"/>
              <a:gd name="connsiteY1215" fmla="*/ 6143890 h 6524625"/>
              <a:gd name="connsiteX1216" fmla="*/ 10157179 w 12192000"/>
              <a:gd name="connsiteY1216" fmla="*/ 6144258 h 6524625"/>
              <a:gd name="connsiteX1217" fmla="*/ 10158151 w 12192000"/>
              <a:gd name="connsiteY1217" fmla="*/ 6144749 h 6524625"/>
              <a:gd name="connsiteX1218" fmla="*/ 10159122 w 12192000"/>
              <a:gd name="connsiteY1218" fmla="*/ 6145239 h 6524625"/>
              <a:gd name="connsiteX1219" fmla="*/ 10159851 w 12192000"/>
              <a:gd name="connsiteY1219" fmla="*/ 6145975 h 6524625"/>
              <a:gd name="connsiteX1220" fmla="*/ 10160459 w 12192000"/>
              <a:gd name="connsiteY1220" fmla="*/ 6146710 h 6524625"/>
              <a:gd name="connsiteX1221" fmla="*/ 10160944 w 12192000"/>
              <a:gd name="connsiteY1221" fmla="*/ 6147446 h 6524625"/>
              <a:gd name="connsiteX1222" fmla="*/ 10161187 w 12192000"/>
              <a:gd name="connsiteY1222" fmla="*/ 6148304 h 6524625"/>
              <a:gd name="connsiteX1223" fmla="*/ 10161309 w 12192000"/>
              <a:gd name="connsiteY1223" fmla="*/ 6149285 h 6524625"/>
              <a:gd name="connsiteX1224" fmla="*/ 10161187 w 12192000"/>
              <a:gd name="connsiteY1224" fmla="*/ 6150143 h 6524625"/>
              <a:gd name="connsiteX1225" fmla="*/ 10161066 w 12192000"/>
              <a:gd name="connsiteY1225" fmla="*/ 6150879 h 6524625"/>
              <a:gd name="connsiteX1226" fmla="*/ 10160823 w 12192000"/>
              <a:gd name="connsiteY1226" fmla="*/ 6151492 h 6524625"/>
              <a:gd name="connsiteX1227" fmla="*/ 10160459 w 12192000"/>
              <a:gd name="connsiteY1227" fmla="*/ 6151982 h 6524625"/>
              <a:gd name="connsiteX1228" fmla="*/ 10160094 w 12192000"/>
              <a:gd name="connsiteY1228" fmla="*/ 6152473 h 6524625"/>
              <a:gd name="connsiteX1229" fmla="*/ 10159608 w 12192000"/>
              <a:gd name="connsiteY1229" fmla="*/ 6152963 h 6524625"/>
              <a:gd name="connsiteX1230" fmla="*/ 10159001 w 12192000"/>
              <a:gd name="connsiteY1230" fmla="*/ 6153331 h 6524625"/>
              <a:gd name="connsiteX1231" fmla="*/ 10158272 w 12192000"/>
              <a:gd name="connsiteY1231" fmla="*/ 6153699 h 6524625"/>
              <a:gd name="connsiteX1232" fmla="*/ 10157057 w 12192000"/>
              <a:gd name="connsiteY1232" fmla="*/ 6154435 h 6524625"/>
              <a:gd name="connsiteX1233" fmla="*/ 10155721 w 12192000"/>
              <a:gd name="connsiteY1233" fmla="*/ 6154802 h 6524625"/>
              <a:gd name="connsiteX1234" fmla="*/ 10154264 w 12192000"/>
              <a:gd name="connsiteY1234" fmla="*/ 6155048 h 6524625"/>
              <a:gd name="connsiteX1235" fmla="*/ 10152928 w 12192000"/>
              <a:gd name="connsiteY1235" fmla="*/ 6155170 h 6524625"/>
              <a:gd name="connsiteX1236" fmla="*/ 10151713 w 12192000"/>
              <a:gd name="connsiteY1236" fmla="*/ 6155048 h 6524625"/>
              <a:gd name="connsiteX1237" fmla="*/ 10150377 w 12192000"/>
              <a:gd name="connsiteY1237" fmla="*/ 6154925 h 6524625"/>
              <a:gd name="connsiteX1238" fmla="*/ 10149041 w 12192000"/>
              <a:gd name="connsiteY1238" fmla="*/ 6154802 h 6524625"/>
              <a:gd name="connsiteX1239" fmla="*/ 10147704 w 12192000"/>
              <a:gd name="connsiteY1239" fmla="*/ 6154435 h 6524625"/>
              <a:gd name="connsiteX1240" fmla="*/ 10144911 w 12192000"/>
              <a:gd name="connsiteY1240" fmla="*/ 6153699 h 6524625"/>
              <a:gd name="connsiteX1241" fmla="*/ 10141995 w 12192000"/>
              <a:gd name="connsiteY1241" fmla="*/ 6152718 h 6524625"/>
              <a:gd name="connsiteX1242" fmla="*/ 10139202 w 12192000"/>
              <a:gd name="connsiteY1242" fmla="*/ 6151615 h 6524625"/>
              <a:gd name="connsiteX1243" fmla="*/ 10136651 w 12192000"/>
              <a:gd name="connsiteY1243" fmla="*/ 6150389 h 6524625"/>
              <a:gd name="connsiteX1244" fmla="*/ 10134221 w 12192000"/>
              <a:gd name="connsiteY1244" fmla="*/ 6148917 h 6524625"/>
              <a:gd name="connsiteX1245" fmla="*/ 10131914 w 12192000"/>
              <a:gd name="connsiteY1245" fmla="*/ 6147446 h 6524625"/>
              <a:gd name="connsiteX1246" fmla="*/ 10122439 w 12192000"/>
              <a:gd name="connsiteY1246" fmla="*/ 6165960 h 6524625"/>
              <a:gd name="connsiteX1247" fmla="*/ 10124140 w 12192000"/>
              <a:gd name="connsiteY1247" fmla="*/ 6167063 h 6524625"/>
              <a:gd name="connsiteX1248" fmla="*/ 10125840 w 12192000"/>
              <a:gd name="connsiteY1248" fmla="*/ 6167921 h 6524625"/>
              <a:gd name="connsiteX1249" fmla="*/ 10127662 w 12192000"/>
              <a:gd name="connsiteY1249" fmla="*/ 6168780 h 6524625"/>
              <a:gd name="connsiteX1250" fmla="*/ 10129484 w 12192000"/>
              <a:gd name="connsiteY1250" fmla="*/ 6169638 h 6524625"/>
              <a:gd name="connsiteX1251" fmla="*/ 10131185 w 12192000"/>
              <a:gd name="connsiteY1251" fmla="*/ 6170374 h 6524625"/>
              <a:gd name="connsiteX1252" fmla="*/ 10133128 w 12192000"/>
              <a:gd name="connsiteY1252" fmla="*/ 6171232 h 6524625"/>
              <a:gd name="connsiteX1253" fmla="*/ 10134950 w 12192000"/>
              <a:gd name="connsiteY1253" fmla="*/ 6171845 h 6524625"/>
              <a:gd name="connsiteX1254" fmla="*/ 10136894 w 12192000"/>
              <a:gd name="connsiteY1254" fmla="*/ 6172335 h 6524625"/>
              <a:gd name="connsiteX1255" fmla="*/ 10138716 w 12192000"/>
              <a:gd name="connsiteY1255" fmla="*/ 6172826 h 6524625"/>
              <a:gd name="connsiteX1256" fmla="*/ 10140781 w 12192000"/>
              <a:gd name="connsiteY1256" fmla="*/ 6173316 h 6524625"/>
              <a:gd name="connsiteX1257" fmla="*/ 10142603 w 12192000"/>
              <a:gd name="connsiteY1257" fmla="*/ 6173684 h 6524625"/>
              <a:gd name="connsiteX1258" fmla="*/ 10144668 w 12192000"/>
              <a:gd name="connsiteY1258" fmla="*/ 6173929 h 6524625"/>
              <a:gd name="connsiteX1259" fmla="*/ 10146490 w 12192000"/>
              <a:gd name="connsiteY1259" fmla="*/ 6174174 h 6524625"/>
              <a:gd name="connsiteX1260" fmla="*/ 10148555 w 12192000"/>
              <a:gd name="connsiteY1260" fmla="*/ 6174420 h 6524625"/>
              <a:gd name="connsiteX1261" fmla="*/ 10150498 w 12192000"/>
              <a:gd name="connsiteY1261" fmla="*/ 6174420 h 6524625"/>
              <a:gd name="connsiteX1262" fmla="*/ 10152563 w 12192000"/>
              <a:gd name="connsiteY1262" fmla="*/ 6174542 h 6524625"/>
              <a:gd name="connsiteX1263" fmla="*/ 10155843 w 12192000"/>
              <a:gd name="connsiteY1263" fmla="*/ 6174420 h 6524625"/>
              <a:gd name="connsiteX1264" fmla="*/ 10159001 w 12192000"/>
              <a:gd name="connsiteY1264" fmla="*/ 6174174 h 6524625"/>
              <a:gd name="connsiteX1265" fmla="*/ 10162281 w 12192000"/>
              <a:gd name="connsiteY1265" fmla="*/ 6173684 h 6524625"/>
              <a:gd name="connsiteX1266" fmla="*/ 10165317 w 12192000"/>
              <a:gd name="connsiteY1266" fmla="*/ 6172948 h 6524625"/>
              <a:gd name="connsiteX1267" fmla="*/ 10168354 w 12192000"/>
              <a:gd name="connsiteY1267" fmla="*/ 6172090 h 6524625"/>
              <a:gd name="connsiteX1268" fmla="*/ 10171269 w 12192000"/>
              <a:gd name="connsiteY1268" fmla="*/ 6170864 h 6524625"/>
              <a:gd name="connsiteX1269" fmla="*/ 10172605 w 12192000"/>
              <a:gd name="connsiteY1269" fmla="*/ 6170251 h 6524625"/>
              <a:gd name="connsiteX1270" fmla="*/ 10174063 w 12192000"/>
              <a:gd name="connsiteY1270" fmla="*/ 6169638 h 6524625"/>
              <a:gd name="connsiteX1271" fmla="*/ 10175399 w 12192000"/>
              <a:gd name="connsiteY1271" fmla="*/ 6168902 h 6524625"/>
              <a:gd name="connsiteX1272" fmla="*/ 10176614 w 12192000"/>
              <a:gd name="connsiteY1272" fmla="*/ 6168044 h 6524625"/>
              <a:gd name="connsiteX1273" fmla="*/ 10177950 w 12192000"/>
              <a:gd name="connsiteY1273" fmla="*/ 6167186 h 6524625"/>
              <a:gd name="connsiteX1274" fmla="*/ 10179043 w 12192000"/>
              <a:gd name="connsiteY1274" fmla="*/ 6166205 h 6524625"/>
              <a:gd name="connsiteX1275" fmla="*/ 10180136 w 12192000"/>
              <a:gd name="connsiteY1275" fmla="*/ 6165224 h 6524625"/>
              <a:gd name="connsiteX1276" fmla="*/ 10181230 w 12192000"/>
              <a:gd name="connsiteY1276" fmla="*/ 6164243 h 6524625"/>
              <a:gd name="connsiteX1277" fmla="*/ 10182201 w 12192000"/>
              <a:gd name="connsiteY1277" fmla="*/ 6163140 h 6524625"/>
              <a:gd name="connsiteX1278" fmla="*/ 10183052 w 12192000"/>
              <a:gd name="connsiteY1278" fmla="*/ 6161914 h 6524625"/>
              <a:gd name="connsiteX1279" fmla="*/ 10183902 w 12192000"/>
              <a:gd name="connsiteY1279" fmla="*/ 6160688 h 6524625"/>
              <a:gd name="connsiteX1280" fmla="*/ 10184752 w 12192000"/>
              <a:gd name="connsiteY1280" fmla="*/ 6159462 h 6524625"/>
              <a:gd name="connsiteX1281" fmla="*/ 10185481 w 12192000"/>
              <a:gd name="connsiteY1281" fmla="*/ 6157990 h 6524625"/>
              <a:gd name="connsiteX1282" fmla="*/ 10185967 w 12192000"/>
              <a:gd name="connsiteY1282" fmla="*/ 6156642 h 6524625"/>
              <a:gd name="connsiteX1283" fmla="*/ 10186574 w 12192000"/>
              <a:gd name="connsiteY1283" fmla="*/ 6155170 h 6524625"/>
              <a:gd name="connsiteX1284" fmla="*/ 10186939 w 12192000"/>
              <a:gd name="connsiteY1284" fmla="*/ 6153576 h 6524625"/>
              <a:gd name="connsiteX1285" fmla="*/ 10187303 w 12192000"/>
              <a:gd name="connsiteY1285" fmla="*/ 6151982 h 6524625"/>
              <a:gd name="connsiteX1286" fmla="*/ 10187546 w 12192000"/>
              <a:gd name="connsiteY1286" fmla="*/ 6150389 h 6524625"/>
              <a:gd name="connsiteX1287" fmla="*/ 10187789 w 12192000"/>
              <a:gd name="connsiteY1287" fmla="*/ 6148549 h 6524625"/>
              <a:gd name="connsiteX1288" fmla="*/ 10187789 w 12192000"/>
              <a:gd name="connsiteY1288" fmla="*/ 6146833 h 6524625"/>
              <a:gd name="connsiteX1289" fmla="*/ 10187789 w 12192000"/>
              <a:gd name="connsiteY1289" fmla="*/ 6144258 h 6524625"/>
              <a:gd name="connsiteX1290" fmla="*/ 10187303 w 12192000"/>
              <a:gd name="connsiteY1290" fmla="*/ 6141929 h 6524625"/>
              <a:gd name="connsiteX1291" fmla="*/ 10186817 w 12192000"/>
              <a:gd name="connsiteY1291" fmla="*/ 6139722 h 6524625"/>
              <a:gd name="connsiteX1292" fmla="*/ 10186088 w 12192000"/>
              <a:gd name="connsiteY1292" fmla="*/ 6137760 h 6524625"/>
              <a:gd name="connsiteX1293" fmla="*/ 10185238 w 12192000"/>
              <a:gd name="connsiteY1293" fmla="*/ 6135921 h 6524625"/>
              <a:gd name="connsiteX1294" fmla="*/ 10184266 w 12192000"/>
              <a:gd name="connsiteY1294" fmla="*/ 6134327 h 6524625"/>
              <a:gd name="connsiteX1295" fmla="*/ 10182930 w 12192000"/>
              <a:gd name="connsiteY1295" fmla="*/ 6132856 h 6524625"/>
              <a:gd name="connsiteX1296" fmla="*/ 10181594 w 12192000"/>
              <a:gd name="connsiteY1296" fmla="*/ 6131384 h 6524625"/>
              <a:gd name="connsiteX1297" fmla="*/ 10180015 w 12192000"/>
              <a:gd name="connsiteY1297" fmla="*/ 6130158 h 6524625"/>
              <a:gd name="connsiteX1298" fmla="*/ 10178436 w 12192000"/>
              <a:gd name="connsiteY1298" fmla="*/ 6129055 h 6524625"/>
              <a:gd name="connsiteX1299" fmla="*/ 10176614 w 12192000"/>
              <a:gd name="connsiteY1299" fmla="*/ 6127951 h 6524625"/>
              <a:gd name="connsiteX1300" fmla="*/ 10174670 w 12192000"/>
              <a:gd name="connsiteY1300" fmla="*/ 6127093 h 6524625"/>
              <a:gd name="connsiteX1301" fmla="*/ 10172605 w 12192000"/>
              <a:gd name="connsiteY1301" fmla="*/ 6126357 h 6524625"/>
              <a:gd name="connsiteX1302" fmla="*/ 10170662 w 12192000"/>
              <a:gd name="connsiteY1302" fmla="*/ 6125622 h 6524625"/>
              <a:gd name="connsiteX1303" fmla="*/ 10168354 w 12192000"/>
              <a:gd name="connsiteY1303" fmla="*/ 6125009 h 6524625"/>
              <a:gd name="connsiteX1304" fmla="*/ 10166168 w 12192000"/>
              <a:gd name="connsiteY1304" fmla="*/ 6124518 h 6524625"/>
              <a:gd name="connsiteX1305" fmla="*/ 10164467 w 12192000"/>
              <a:gd name="connsiteY1305" fmla="*/ 6124273 h 6524625"/>
              <a:gd name="connsiteX1306" fmla="*/ 10162767 w 12192000"/>
              <a:gd name="connsiteY1306" fmla="*/ 6123905 h 6524625"/>
              <a:gd name="connsiteX1307" fmla="*/ 10160702 w 12192000"/>
              <a:gd name="connsiteY1307" fmla="*/ 6123415 h 6524625"/>
              <a:gd name="connsiteX1308" fmla="*/ 10158758 w 12192000"/>
              <a:gd name="connsiteY1308" fmla="*/ 6122802 h 6524625"/>
              <a:gd name="connsiteX1309" fmla="*/ 10157786 w 12192000"/>
              <a:gd name="connsiteY1309" fmla="*/ 6122557 h 6524625"/>
              <a:gd name="connsiteX1310" fmla="*/ 10156936 w 12192000"/>
              <a:gd name="connsiteY1310" fmla="*/ 6122066 h 6524625"/>
              <a:gd name="connsiteX1311" fmla="*/ 10156207 w 12192000"/>
              <a:gd name="connsiteY1311" fmla="*/ 6121576 h 6524625"/>
              <a:gd name="connsiteX1312" fmla="*/ 10155478 w 12192000"/>
              <a:gd name="connsiteY1312" fmla="*/ 6121085 h 6524625"/>
              <a:gd name="connsiteX1313" fmla="*/ 10154993 w 12192000"/>
              <a:gd name="connsiteY1313" fmla="*/ 6120472 h 6524625"/>
              <a:gd name="connsiteX1314" fmla="*/ 10154385 w 12192000"/>
              <a:gd name="connsiteY1314" fmla="*/ 6119614 h 6524625"/>
              <a:gd name="connsiteX1315" fmla="*/ 10154142 w 12192000"/>
              <a:gd name="connsiteY1315" fmla="*/ 6118878 h 6524625"/>
              <a:gd name="connsiteX1316" fmla="*/ 10154021 w 12192000"/>
              <a:gd name="connsiteY1316" fmla="*/ 6117897 h 6524625"/>
              <a:gd name="connsiteX1317" fmla="*/ 10154142 w 12192000"/>
              <a:gd name="connsiteY1317" fmla="*/ 6117284 h 6524625"/>
              <a:gd name="connsiteX1318" fmla="*/ 10154264 w 12192000"/>
              <a:gd name="connsiteY1318" fmla="*/ 6116671 h 6524625"/>
              <a:gd name="connsiteX1319" fmla="*/ 10154507 w 12192000"/>
              <a:gd name="connsiteY1319" fmla="*/ 6116058 h 6524625"/>
              <a:gd name="connsiteX1320" fmla="*/ 10154993 w 12192000"/>
              <a:gd name="connsiteY1320" fmla="*/ 6115568 h 6524625"/>
              <a:gd name="connsiteX1321" fmla="*/ 10155478 w 12192000"/>
              <a:gd name="connsiteY1321" fmla="*/ 6115078 h 6524625"/>
              <a:gd name="connsiteX1322" fmla="*/ 10155964 w 12192000"/>
              <a:gd name="connsiteY1322" fmla="*/ 6114587 h 6524625"/>
              <a:gd name="connsiteX1323" fmla="*/ 10156450 w 12192000"/>
              <a:gd name="connsiteY1323" fmla="*/ 6114219 h 6524625"/>
              <a:gd name="connsiteX1324" fmla="*/ 10157057 w 12192000"/>
              <a:gd name="connsiteY1324" fmla="*/ 6113974 h 6524625"/>
              <a:gd name="connsiteX1325" fmla="*/ 10158515 w 12192000"/>
              <a:gd name="connsiteY1325" fmla="*/ 6113484 h 6524625"/>
              <a:gd name="connsiteX1326" fmla="*/ 10159851 w 12192000"/>
              <a:gd name="connsiteY1326" fmla="*/ 6113116 h 6524625"/>
              <a:gd name="connsiteX1327" fmla="*/ 10161187 w 12192000"/>
              <a:gd name="connsiteY1327" fmla="*/ 6112871 h 6524625"/>
              <a:gd name="connsiteX1328" fmla="*/ 10162524 w 12192000"/>
              <a:gd name="connsiteY1328" fmla="*/ 6112871 h 6524625"/>
              <a:gd name="connsiteX1329" fmla="*/ 10164224 w 12192000"/>
              <a:gd name="connsiteY1329" fmla="*/ 6112871 h 6524625"/>
              <a:gd name="connsiteX1330" fmla="*/ 10166046 w 12192000"/>
              <a:gd name="connsiteY1330" fmla="*/ 6113116 h 6524625"/>
              <a:gd name="connsiteX1331" fmla="*/ 10167868 w 12192000"/>
              <a:gd name="connsiteY1331" fmla="*/ 6113361 h 6524625"/>
              <a:gd name="connsiteX1332" fmla="*/ 10169812 w 12192000"/>
              <a:gd name="connsiteY1332" fmla="*/ 6113851 h 6524625"/>
              <a:gd name="connsiteX1333" fmla="*/ 10171634 w 12192000"/>
              <a:gd name="connsiteY1333" fmla="*/ 6114342 h 6524625"/>
              <a:gd name="connsiteX1334" fmla="*/ 10173456 w 12192000"/>
              <a:gd name="connsiteY1334" fmla="*/ 6114955 h 6524625"/>
              <a:gd name="connsiteX1335" fmla="*/ 10175156 w 12192000"/>
              <a:gd name="connsiteY1335" fmla="*/ 6115813 h 6524625"/>
              <a:gd name="connsiteX1336" fmla="*/ 10176614 w 12192000"/>
              <a:gd name="connsiteY1336" fmla="*/ 6116549 h 6524625"/>
              <a:gd name="connsiteX1337" fmla="*/ 10185603 w 12192000"/>
              <a:gd name="connsiteY1337" fmla="*/ 6099629 h 6524625"/>
              <a:gd name="connsiteX1338" fmla="*/ 10182687 w 12192000"/>
              <a:gd name="connsiteY1338" fmla="*/ 6098280 h 6524625"/>
              <a:gd name="connsiteX1339" fmla="*/ 10179651 w 12192000"/>
              <a:gd name="connsiteY1339" fmla="*/ 6097299 h 6524625"/>
              <a:gd name="connsiteX1340" fmla="*/ 10176614 w 12192000"/>
              <a:gd name="connsiteY1340" fmla="*/ 6096564 h 6524625"/>
              <a:gd name="connsiteX1341" fmla="*/ 10173577 w 12192000"/>
              <a:gd name="connsiteY1341" fmla="*/ 6095951 h 6524625"/>
              <a:gd name="connsiteX1342" fmla="*/ 10170540 w 12192000"/>
              <a:gd name="connsiteY1342" fmla="*/ 6095460 h 6524625"/>
              <a:gd name="connsiteX1343" fmla="*/ 10167382 w 12192000"/>
              <a:gd name="connsiteY1343" fmla="*/ 6095092 h 6524625"/>
              <a:gd name="connsiteX1344" fmla="*/ 10164224 w 12192000"/>
              <a:gd name="connsiteY1344" fmla="*/ 6094970 h 6524625"/>
              <a:gd name="connsiteX1345" fmla="*/ 9998359 w 12192000"/>
              <a:gd name="connsiteY1345" fmla="*/ 6094847 h 6524625"/>
              <a:gd name="connsiteX1346" fmla="*/ 9996152 w 12192000"/>
              <a:gd name="connsiteY1346" fmla="*/ 6094970 h 6524625"/>
              <a:gd name="connsiteX1347" fmla="*/ 9993945 w 12192000"/>
              <a:gd name="connsiteY1347" fmla="*/ 6095092 h 6524625"/>
              <a:gd name="connsiteX1348" fmla="*/ 9991615 w 12192000"/>
              <a:gd name="connsiteY1348" fmla="*/ 6095215 h 6524625"/>
              <a:gd name="connsiteX1349" fmla="*/ 9989654 w 12192000"/>
              <a:gd name="connsiteY1349" fmla="*/ 6095583 h 6524625"/>
              <a:gd name="connsiteX1350" fmla="*/ 9987447 w 12192000"/>
              <a:gd name="connsiteY1350" fmla="*/ 6095951 h 6524625"/>
              <a:gd name="connsiteX1351" fmla="*/ 9985485 w 12192000"/>
              <a:gd name="connsiteY1351" fmla="*/ 6096319 h 6524625"/>
              <a:gd name="connsiteX1352" fmla="*/ 9983401 w 12192000"/>
              <a:gd name="connsiteY1352" fmla="*/ 6096932 h 6524625"/>
              <a:gd name="connsiteX1353" fmla="*/ 9981561 w 12192000"/>
              <a:gd name="connsiteY1353" fmla="*/ 6097545 h 6524625"/>
              <a:gd name="connsiteX1354" fmla="*/ 9979600 w 12192000"/>
              <a:gd name="connsiteY1354" fmla="*/ 6098280 h 6524625"/>
              <a:gd name="connsiteX1355" fmla="*/ 9977883 w 12192000"/>
              <a:gd name="connsiteY1355" fmla="*/ 6099139 h 6524625"/>
              <a:gd name="connsiteX1356" fmla="*/ 9976044 w 12192000"/>
              <a:gd name="connsiteY1356" fmla="*/ 6099997 h 6524625"/>
              <a:gd name="connsiteX1357" fmla="*/ 9974450 w 12192000"/>
              <a:gd name="connsiteY1357" fmla="*/ 6100855 h 6524625"/>
              <a:gd name="connsiteX1358" fmla="*/ 9972734 w 12192000"/>
              <a:gd name="connsiteY1358" fmla="*/ 6101958 h 6524625"/>
              <a:gd name="connsiteX1359" fmla="*/ 9971262 w 12192000"/>
              <a:gd name="connsiteY1359" fmla="*/ 6103062 h 6524625"/>
              <a:gd name="connsiteX1360" fmla="*/ 9969668 w 12192000"/>
              <a:gd name="connsiteY1360" fmla="*/ 6104288 h 6524625"/>
              <a:gd name="connsiteX1361" fmla="*/ 9968320 w 12192000"/>
              <a:gd name="connsiteY1361" fmla="*/ 6105514 h 6524625"/>
              <a:gd name="connsiteX1362" fmla="*/ 9967094 w 12192000"/>
              <a:gd name="connsiteY1362" fmla="*/ 6106740 h 6524625"/>
              <a:gd name="connsiteX1363" fmla="*/ 9965745 w 12192000"/>
              <a:gd name="connsiteY1363" fmla="*/ 6108211 h 6524625"/>
              <a:gd name="connsiteX1364" fmla="*/ 9964519 w 12192000"/>
              <a:gd name="connsiteY1364" fmla="*/ 6109683 h 6524625"/>
              <a:gd name="connsiteX1365" fmla="*/ 9963415 w 12192000"/>
              <a:gd name="connsiteY1365" fmla="*/ 6111154 h 6524625"/>
              <a:gd name="connsiteX1366" fmla="*/ 9962312 w 12192000"/>
              <a:gd name="connsiteY1366" fmla="*/ 6112871 h 6524625"/>
              <a:gd name="connsiteX1367" fmla="*/ 9961454 w 12192000"/>
              <a:gd name="connsiteY1367" fmla="*/ 6114464 h 6524625"/>
              <a:gd name="connsiteX1368" fmla="*/ 9960595 w 12192000"/>
              <a:gd name="connsiteY1368" fmla="*/ 6116304 h 6524625"/>
              <a:gd name="connsiteX1369" fmla="*/ 9959860 w 12192000"/>
              <a:gd name="connsiteY1369" fmla="*/ 6118020 h 6524625"/>
              <a:gd name="connsiteX1370" fmla="*/ 9959124 w 12192000"/>
              <a:gd name="connsiteY1370" fmla="*/ 6119982 h 6524625"/>
              <a:gd name="connsiteX1371" fmla="*/ 9958389 w 12192000"/>
              <a:gd name="connsiteY1371" fmla="*/ 6121944 h 6524625"/>
              <a:gd name="connsiteX1372" fmla="*/ 9957898 w 12192000"/>
              <a:gd name="connsiteY1372" fmla="*/ 6123783 h 6524625"/>
              <a:gd name="connsiteX1373" fmla="*/ 9957530 w 12192000"/>
              <a:gd name="connsiteY1373" fmla="*/ 6125990 h 6524625"/>
              <a:gd name="connsiteX1374" fmla="*/ 9957162 w 12192000"/>
              <a:gd name="connsiteY1374" fmla="*/ 6128074 h 6524625"/>
              <a:gd name="connsiteX1375" fmla="*/ 9956917 w 12192000"/>
              <a:gd name="connsiteY1375" fmla="*/ 6130281 h 6524625"/>
              <a:gd name="connsiteX1376" fmla="*/ 9956795 w 12192000"/>
              <a:gd name="connsiteY1376" fmla="*/ 6132488 h 6524625"/>
              <a:gd name="connsiteX1377" fmla="*/ 9956672 w 12192000"/>
              <a:gd name="connsiteY1377" fmla="*/ 6134817 h 6524625"/>
              <a:gd name="connsiteX1378" fmla="*/ 9956795 w 12192000"/>
              <a:gd name="connsiteY1378" fmla="*/ 6137270 h 6524625"/>
              <a:gd name="connsiteX1379" fmla="*/ 9956917 w 12192000"/>
              <a:gd name="connsiteY1379" fmla="*/ 6139476 h 6524625"/>
              <a:gd name="connsiteX1380" fmla="*/ 9957162 w 12192000"/>
              <a:gd name="connsiteY1380" fmla="*/ 6141806 h 6524625"/>
              <a:gd name="connsiteX1381" fmla="*/ 9957530 w 12192000"/>
              <a:gd name="connsiteY1381" fmla="*/ 6143890 h 6524625"/>
              <a:gd name="connsiteX1382" fmla="*/ 9958021 w 12192000"/>
              <a:gd name="connsiteY1382" fmla="*/ 6146097 h 6524625"/>
              <a:gd name="connsiteX1383" fmla="*/ 9958511 w 12192000"/>
              <a:gd name="connsiteY1383" fmla="*/ 6148059 h 6524625"/>
              <a:gd name="connsiteX1384" fmla="*/ 9959247 w 12192000"/>
              <a:gd name="connsiteY1384" fmla="*/ 6150021 h 6524625"/>
              <a:gd name="connsiteX1385" fmla="*/ 9959982 w 12192000"/>
              <a:gd name="connsiteY1385" fmla="*/ 6151860 h 6524625"/>
              <a:gd name="connsiteX1386" fmla="*/ 9960841 w 12192000"/>
              <a:gd name="connsiteY1386" fmla="*/ 6153699 h 6524625"/>
              <a:gd name="connsiteX1387" fmla="*/ 9961699 w 12192000"/>
              <a:gd name="connsiteY1387" fmla="*/ 6155415 h 6524625"/>
              <a:gd name="connsiteX1388" fmla="*/ 9962802 w 12192000"/>
              <a:gd name="connsiteY1388" fmla="*/ 6157132 h 6524625"/>
              <a:gd name="connsiteX1389" fmla="*/ 9963906 w 12192000"/>
              <a:gd name="connsiteY1389" fmla="*/ 6158726 h 6524625"/>
              <a:gd name="connsiteX1390" fmla="*/ 9965132 w 12192000"/>
              <a:gd name="connsiteY1390" fmla="*/ 6160197 h 6524625"/>
              <a:gd name="connsiteX1391" fmla="*/ 9966481 w 12192000"/>
              <a:gd name="connsiteY1391" fmla="*/ 6161668 h 6524625"/>
              <a:gd name="connsiteX1392" fmla="*/ 9967707 w 12192000"/>
              <a:gd name="connsiteY1392" fmla="*/ 6163140 h 6524625"/>
              <a:gd name="connsiteX1393" fmla="*/ 9969178 w 12192000"/>
              <a:gd name="connsiteY1393" fmla="*/ 6164366 h 6524625"/>
              <a:gd name="connsiteX1394" fmla="*/ 9970649 w 12192000"/>
              <a:gd name="connsiteY1394" fmla="*/ 6165469 h 6524625"/>
              <a:gd name="connsiteX1395" fmla="*/ 9972243 w 12192000"/>
              <a:gd name="connsiteY1395" fmla="*/ 6166818 h 6524625"/>
              <a:gd name="connsiteX1396" fmla="*/ 9973837 w 12192000"/>
              <a:gd name="connsiteY1396" fmla="*/ 6167799 h 6524625"/>
              <a:gd name="connsiteX1397" fmla="*/ 9975554 w 12192000"/>
              <a:gd name="connsiteY1397" fmla="*/ 6168780 h 6524625"/>
              <a:gd name="connsiteX1398" fmla="*/ 9977270 w 12192000"/>
              <a:gd name="connsiteY1398" fmla="*/ 6169638 h 6524625"/>
              <a:gd name="connsiteX1399" fmla="*/ 9979109 w 12192000"/>
              <a:gd name="connsiteY1399" fmla="*/ 6170496 h 6524625"/>
              <a:gd name="connsiteX1400" fmla="*/ 9980948 w 12192000"/>
              <a:gd name="connsiteY1400" fmla="*/ 6171354 h 6524625"/>
              <a:gd name="connsiteX1401" fmla="*/ 9982910 w 12192000"/>
              <a:gd name="connsiteY1401" fmla="*/ 6171967 h 6524625"/>
              <a:gd name="connsiteX1402" fmla="*/ 9984994 w 12192000"/>
              <a:gd name="connsiteY1402" fmla="*/ 6172581 h 6524625"/>
              <a:gd name="connsiteX1403" fmla="*/ 9986956 w 12192000"/>
              <a:gd name="connsiteY1403" fmla="*/ 6173071 h 6524625"/>
              <a:gd name="connsiteX1404" fmla="*/ 9989163 w 12192000"/>
              <a:gd name="connsiteY1404" fmla="*/ 6173561 h 6524625"/>
              <a:gd name="connsiteX1405" fmla="*/ 9991247 w 12192000"/>
              <a:gd name="connsiteY1405" fmla="*/ 6173929 h 6524625"/>
              <a:gd name="connsiteX1406" fmla="*/ 9993454 w 12192000"/>
              <a:gd name="connsiteY1406" fmla="*/ 6174174 h 6524625"/>
              <a:gd name="connsiteX1407" fmla="*/ 9995661 w 12192000"/>
              <a:gd name="connsiteY1407" fmla="*/ 6174297 h 6524625"/>
              <a:gd name="connsiteX1408" fmla="*/ 9997991 w 12192000"/>
              <a:gd name="connsiteY1408" fmla="*/ 6174420 h 6524625"/>
              <a:gd name="connsiteX1409" fmla="*/ 10000320 w 12192000"/>
              <a:gd name="connsiteY1409" fmla="*/ 6174542 h 6524625"/>
              <a:gd name="connsiteX1410" fmla="*/ 10003508 w 12192000"/>
              <a:gd name="connsiteY1410" fmla="*/ 6174420 h 6524625"/>
              <a:gd name="connsiteX1411" fmla="*/ 10006696 w 12192000"/>
              <a:gd name="connsiteY1411" fmla="*/ 6174174 h 6524625"/>
              <a:gd name="connsiteX1412" fmla="*/ 10009761 w 12192000"/>
              <a:gd name="connsiteY1412" fmla="*/ 6173684 h 6524625"/>
              <a:gd name="connsiteX1413" fmla="*/ 10012949 w 12192000"/>
              <a:gd name="connsiteY1413" fmla="*/ 6173071 h 6524625"/>
              <a:gd name="connsiteX1414" fmla="*/ 10015892 w 12192000"/>
              <a:gd name="connsiteY1414" fmla="*/ 6172213 h 6524625"/>
              <a:gd name="connsiteX1415" fmla="*/ 10018834 w 12192000"/>
              <a:gd name="connsiteY1415" fmla="*/ 6171109 h 6524625"/>
              <a:gd name="connsiteX1416" fmla="*/ 10021532 w 12192000"/>
              <a:gd name="connsiteY1416" fmla="*/ 6169761 h 6524625"/>
              <a:gd name="connsiteX1417" fmla="*/ 10024229 w 12192000"/>
              <a:gd name="connsiteY1417" fmla="*/ 6168289 h 6524625"/>
              <a:gd name="connsiteX1418" fmla="*/ 10025578 w 12192000"/>
              <a:gd name="connsiteY1418" fmla="*/ 6167554 h 6524625"/>
              <a:gd name="connsiteX1419" fmla="*/ 10026804 w 12192000"/>
              <a:gd name="connsiteY1419" fmla="*/ 6166573 h 6524625"/>
              <a:gd name="connsiteX1420" fmla="*/ 10027907 w 12192000"/>
              <a:gd name="connsiteY1420" fmla="*/ 6165714 h 6524625"/>
              <a:gd name="connsiteX1421" fmla="*/ 10029256 w 12192000"/>
              <a:gd name="connsiteY1421" fmla="*/ 6164734 h 6524625"/>
              <a:gd name="connsiteX1422" fmla="*/ 10030237 w 12192000"/>
              <a:gd name="connsiteY1422" fmla="*/ 6163753 h 6524625"/>
              <a:gd name="connsiteX1423" fmla="*/ 10031340 w 12192000"/>
              <a:gd name="connsiteY1423" fmla="*/ 6162649 h 6524625"/>
              <a:gd name="connsiteX1424" fmla="*/ 10032199 w 12192000"/>
              <a:gd name="connsiteY1424" fmla="*/ 6161423 h 6524625"/>
              <a:gd name="connsiteX1425" fmla="*/ 10033302 w 12192000"/>
              <a:gd name="connsiteY1425" fmla="*/ 6160320 h 6524625"/>
              <a:gd name="connsiteX1426" fmla="*/ 10034160 w 12192000"/>
              <a:gd name="connsiteY1426" fmla="*/ 6159094 h 6524625"/>
              <a:gd name="connsiteX1427" fmla="*/ 10034896 w 12192000"/>
              <a:gd name="connsiteY1427" fmla="*/ 6157745 h 6524625"/>
              <a:gd name="connsiteX1428" fmla="*/ 10035754 w 12192000"/>
              <a:gd name="connsiteY1428" fmla="*/ 6156396 h 6524625"/>
              <a:gd name="connsiteX1429" fmla="*/ 10036367 w 12192000"/>
              <a:gd name="connsiteY1429" fmla="*/ 6155048 h 6524625"/>
              <a:gd name="connsiteX1430" fmla="*/ 10037103 w 12192000"/>
              <a:gd name="connsiteY1430" fmla="*/ 6153576 h 6524625"/>
              <a:gd name="connsiteX1431" fmla="*/ 10037716 w 12192000"/>
              <a:gd name="connsiteY1431" fmla="*/ 6152105 h 6524625"/>
              <a:gd name="connsiteX1432" fmla="*/ 10038206 w 12192000"/>
              <a:gd name="connsiteY1432" fmla="*/ 6150511 h 6524625"/>
              <a:gd name="connsiteX1433" fmla="*/ 10038574 w 12192000"/>
              <a:gd name="connsiteY1433" fmla="*/ 6148795 h 6524625"/>
              <a:gd name="connsiteX1434" fmla="*/ 10012949 w 12192000"/>
              <a:gd name="connsiteY1434" fmla="*/ 6148795 h 6524625"/>
              <a:gd name="connsiteX1435" fmla="*/ 10012336 w 12192000"/>
              <a:gd name="connsiteY1435" fmla="*/ 6149775 h 6524625"/>
              <a:gd name="connsiteX1436" fmla="*/ 10011846 w 12192000"/>
              <a:gd name="connsiteY1436" fmla="*/ 6150634 h 6524625"/>
              <a:gd name="connsiteX1437" fmla="*/ 10011233 w 12192000"/>
              <a:gd name="connsiteY1437" fmla="*/ 6151369 h 6524625"/>
              <a:gd name="connsiteX1438" fmla="*/ 10010497 w 12192000"/>
              <a:gd name="connsiteY1438" fmla="*/ 6152105 h 6524625"/>
              <a:gd name="connsiteX1439" fmla="*/ 10009761 w 12192000"/>
              <a:gd name="connsiteY1439" fmla="*/ 6152718 h 6524625"/>
              <a:gd name="connsiteX1440" fmla="*/ 10009148 w 12192000"/>
              <a:gd name="connsiteY1440" fmla="*/ 6153209 h 6524625"/>
              <a:gd name="connsiteX1441" fmla="*/ 10008413 w 12192000"/>
              <a:gd name="connsiteY1441" fmla="*/ 6153699 h 6524625"/>
              <a:gd name="connsiteX1442" fmla="*/ 10007677 w 12192000"/>
              <a:gd name="connsiteY1442" fmla="*/ 6154312 h 6524625"/>
              <a:gd name="connsiteX1443" fmla="*/ 10006696 w 12192000"/>
              <a:gd name="connsiteY1443" fmla="*/ 6154680 h 6524625"/>
              <a:gd name="connsiteX1444" fmla="*/ 10005960 w 12192000"/>
              <a:gd name="connsiteY1444" fmla="*/ 6154925 h 6524625"/>
              <a:gd name="connsiteX1445" fmla="*/ 10005102 w 12192000"/>
              <a:gd name="connsiteY1445" fmla="*/ 6155293 h 6524625"/>
              <a:gd name="connsiteX1446" fmla="*/ 10004244 w 12192000"/>
              <a:gd name="connsiteY1446" fmla="*/ 6155415 h 6524625"/>
              <a:gd name="connsiteX1447" fmla="*/ 10002160 w 12192000"/>
              <a:gd name="connsiteY1447" fmla="*/ 6155783 h 6524625"/>
              <a:gd name="connsiteX1448" fmla="*/ 10000198 w 12192000"/>
              <a:gd name="connsiteY1448" fmla="*/ 6155783 h 6524625"/>
              <a:gd name="connsiteX1449" fmla="*/ 9998114 w 12192000"/>
              <a:gd name="connsiteY1449" fmla="*/ 6155783 h 6524625"/>
              <a:gd name="connsiteX1450" fmla="*/ 9996274 w 12192000"/>
              <a:gd name="connsiteY1450" fmla="*/ 6155538 h 6524625"/>
              <a:gd name="connsiteX1451" fmla="*/ 9994558 w 12192000"/>
              <a:gd name="connsiteY1451" fmla="*/ 6155293 h 6524625"/>
              <a:gd name="connsiteX1452" fmla="*/ 9992964 w 12192000"/>
              <a:gd name="connsiteY1452" fmla="*/ 6154802 h 6524625"/>
              <a:gd name="connsiteX1453" fmla="*/ 9991370 w 12192000"/>
              <a:gd name="connsiteY1453" fmla="*/ 6154189 h 6524625"/>
              <a:gd name="connsiteX1454" fmla="*/ 9990021 w 12192000"/>
              <a:gd name="connsiteY1454" fmla="*/ 6153331 h 6524625"/>
              <a:gd name="connsiteX1455" fmla="*/ 9988795 w 12192000"/>
              <a:gd name="connsiteY1455" fmla="*/ 6152473 h 6524625"/>
              <a:gd name="connsiteX1456" fmla="*/ 9987692 w 12192000"/>
              <a:gd name="connsiteY1456" fmla="*/ 6151615 h 6524625"/>
              <a:gd name="connsiteX1457" fmla="*/ 9986711 w 12192000"/>
              <a:gd name="connsiteY1457" fmla="*/ 6150511 h 6524625"/>
              <a:gd name="connsiteX1458" fmla="*/ 9985853 w 12192000"/>
              <a:gd name="connsiteY1458" fmla="*/ 6149162 h 6524625"/>
              <a:gd name="connsiteX1459" fmla="*/ 9985117 w 12192000"/>
              <a:gd name="connsiteY1459" fmla="*/ 6147814 h 6524625"/>
              <a:gd name="connsiteX1460" fmla="*/ 9984504 w 12192000"/>
              <a:gd name="connsiteY1460" fmla="*/ 6146342 h 6524625"/>
              <a:gd name="connsiteX1461" fmla="*/ 9984014 w 12192000"/>
              <a:gd name="connsiteY1461" fmla="*/ 6144749 h 6524625"/>
              <a:gd name="connsiteX1462" fmla="*/ 9983646 w 12192000"/>
              <a:gd name="connsiteY1462" fmla="*/ 6143032 h 6524625"/>
              <a:gd name="connsiteX1463" fmla="*/ 9983523 w 12192000"/>
              <a:gd name="connsiteY1463" fmla="*/ 6141193 h 6524625"/>
              <a:gd name="connsiteX1464" fmla="*/ 9983401 w 12192000"/>
              <a:gd name="connsiteY1464" fmla="*/ 6139231 h 6524625"/>
              <a:gd name="connsiteX1465" fmla="*/ 10039555 w 12192000"/>
              <a:gd name="connsiteY1465" fmla="*/ 6139231 h 6524625"/>
              <a:gd name="connsiteX1466" fmla="*/ 10039555 w 12192000"/>
              <a:gd name="connsiteY1466" fmla="*/ 6136411 h 6524625"/>
              <a:gd name="connsiteX1467" fmla="*/ 10039555 w 12192000"/>
              <a:gd name="connsiteY1467" fmla="*/ 6134082 h 6524625"/>
              <a:gd name="connsiteX1468" fmla="*/ 10039432 w 12192000"/>
              <a:gd name="connsiteY1468" fmla="*/ 6131752 h 6524625"/>
              <a:gd name="connsiteX1469" fmla="*/ 10039187 w 12192000"/>
              <a:gd name="connsiteY1469" fmla="*/ 6129545 h 6524625"/>
              <a:gd name="connsiteX1470" fmla="*/ 10038942 w 12192000"/>
              <a:gd name="connsiteY1470" fmla="*/ 6127338 h 6524625"/>
              <a:gd name="connsiteX1471" fmla="*/ 10038574 w 12192000"/>
              <a:gd name="connsiteY1471" fmla="*/ 6125254 h 6524625"/>
              <a:gd name="connsiteX1472" fmla="*/ 10038084 w 12192000"/>
              <a:gd name="connsiteY1472" fmla="*/ 6123047 h 6524625"/>
              <a:gd name="connsiteX1473" fmla="*/ 10037593 w 12192000"/>
              <a:gd name="connsiteY1473" fmla="*/ 6121085 h 6524625"/>
              <a:gd name="connsiteX1474" fmla="*/ 10036858 w 12192000"/>
              <a:gd name="connsiteY1474" fmla="*/ 6119124 h 6524625"/>
              <a:gd name="connsiteX1475" fmla="*/ 10036122 w 12192000"/>
              <a:gd name="connsiteY1475" fmla="*/ 6117284 h 6524625"/>
              <a:gd name="connsiteX1476" fmla="*/ 10035264 w 12192000"/>
              <a:gd name="connsiteY1476" fmla="*/ 6115568 h 6524625"/>
              <a:gd name="connsiteX1477" fmla="*/ 10034405 w 12192000"/>
              <a:gd name="connsiteY1477" fmla="*/ 6113729 h 6524625"/>
              <a:gd name="connsiteX1478" fmla="*/ 10033547 w 12192000"/>
              <a:gd name="connsiteY1478" fmla="*/ 6112135 h 6524625"/>
              <a:gd name="connsiteX1479" fmla="*/ 10032321 w 12192000"/>
              <a:gd name="connsiteY1479" fmla="*/ 6110418 h 6524625"/>
              <a:gd name="connsiteX1480" fmla="*/ 10031340 w 12192000"/>
              <a:gd name="connsiteY1480" fmla="*/ 6108947 h 6524625"/>
              <a:gd name="connsiteX1481" fmla="*/ 10030114 w 12192000"/>
              <a:gd name="connsiteY1481" fmla="*/ 6107476 h 6524625"/>
              <a:gd name="connsiteX1482" fmla="*/ 10028766 w 12192000"/>
              <a:gd name="connsiteY1482" fmla="*/ 6106005 h 6524625"/>
              <a:gd name="connsiteX1483" fmla="*/ 10027417 w 12192000"/>
              <a:gd name="connsiteY1483" fmla="*/ 6104778 h 6524625"/>
              <a:gd name="connsiteX1484" fmla="*/ 10026068 w 12192000"/>
              <a:gd name="connsiteY1484" fmla="*/ 6103552 h 6524625"/>
              <a:gd name="connsiteX1485" fmla="*/ 10024474 w 12192000"/>
              <a:gd name="connsiteY1485" fmla="*/ 6102326 h 6524625"/>
              <a:gd name="connsiteX1486" fmla="*/ 10023003 w 12192000"/>
              <a:gd name="connsiteY1486" fmla="*/ 6101223 h 6524625"/>
              <a:gd name="connsiteX1487" fmla="*/ 10021164 w 12192000"/>
              <a:gd name="connsiteY1487" fmla="*/ 6100242 h 6524625"/>
              <a:gd name="connsiteX1488" fmla="*/ 10019570 w 12192000"/>
              <a:gd name="connsiteY1488" fmla="*/ 6099384 h 6524625"/>
              <a:gd name="connsiteX1489" fmla="*/ 10017731 w 12192000"/>
              <a:gd name="connsiteY1489" fmla="*/ 6098525 h 6524625"/>
              <a:gd name="connsiteX1490" fmla="*/ 10015892 w 12192000"/>
              <a:gd name="connsiteY1490" fmla="*/ 6097667 h 6524625"/>
              <a:gd name="connsiteX1491" fmla="*/ 10013807 w 12192000"/>
              <a:gd name="connsiteY1491" fmla="*/ 6097054 h 6524625"/>
              <a:gd name="connsiteX1492" fmla="*/ 10011968 w 12192000"/>
              <a:gd name="connsiteY1492" fmla="*/ 6096441 h 6524625"/>
              <a:gd name="connsiteX1493" fmla="*/ 10009761 w 12192000"/>
              <a:gd name="connsiteY1493" fmla="*/ 6095951 h 6524625"/>
              <a:gd name="connsiteX1494" fmla="*/ 10007677 w 12192000"/>
              <a:gd name="connsiteY1494" fmla="*/ 6095583 h 6524625"/>
              <a:gd name="connsiteX1495" fmla="*/ 10005470 w 12192000"/>
              <a:gd name="connsiteY1495" fmla="*/ 6095215 h 6524625"/>
              <a:gd name="connsiteX1496" fmla="*/ 10003140 w 12192000"/>
              <a:gd name="connsiteY1496" fmla="*/ 6095092 h 6524625"/>
              <a:gd name="connsiteX1497" fmla="*/ 10000811 w 12192000"/>
              <a:gd name="connsiteY1497" fmla="*/ 6094970 h 6524625"/>
              <a:gd name="connsiteX1498" fmla="*/ 9848287 w 12192000"/>
              <a:gd name="connsiteY1498" fmla="*/ 6062969 h 6524625"/>
              <a:gd name="connsiteX1499" fmla="*/ 9894903 w 12192000"/>
              <a:gd name="connsiteY1499" fmla="*/ 6172949 h 6524625"/>
              <a:gd name="connsiteX1500" fmla="*/ 9917165 w 12192000"/>
              <a:gd name="connsiteY1500" fmla="*/ 6172949 h 6524625"/>
              <a:gd name="connsiteX1501" fmla="*/ 9964642 w 12192000"/>
              <a:gd name="connsiteY1501" fmla="*/ 6062969 h 6524625"/>
              <a:gd name="connsiteX1502" fmla="*/ 9933278 w 12192000"/>
              <a:gd name="connsiteY1502" fmla="*/ 6062969 h 6524625"/>
              <a:gd name="connsiteX1503" fmla="*/ 9906342 w 12192000"/>
              <a:gd name="connsiteY1503" fmla="*/ 6129839 h 6524625"/>
              <a:gd name="connsiteX1504" fmla="*/ 9879528 w 12192000"/>
              <a:gd name="connsiteY1504" fmla="*/ 6062969 h 6524625"/>
              <a:gd name="connsiteX1505" fmla="*/ 10218256 w 12192000"/>
              <a:gd name="connsiteY1505" fmla="*/ 6053405 h 6524625"/>
              <a:gd name="connsiteX1506" fmla="*/ 10216727 w 12192000"/>
              <a:gd name="connsiteY1506" fmla="*/ 6053655 h 6524625"/>
              <a:gd name="connsiteX1507" fmla="*/ 10215434 w 12192000"/>
              <a:gd name="connsiteY1507" fmla="*/ 6054028 h 6524625"/>
              <a:gd name="connsiteX1508" fmla="*/ 10214141 w 12192000"/>
              <a:gd name="connsiteY1508" fmla="*/ 6054527 h 6524625"/>
              <a:gd name="connsiteX1509" fmla="*/ 10212847 w 12192000"/>
              <a:gd name="connsiteY1509" fmla="*/ 6055150 h 6524625"/>
              <a:gd name="connsiteX1510" fmla="*/ 10211671 w 12192000"/>
              <a:gd name="connsiteY1510" fmla="*/ 6056022 h 6524625"/>
              <a:gd name="connsiteX1511" fmla="*/ 10210613 w 12192000"/>
              <a:gd name="connsiteY1511" fmla="*/ 6056895 h 6524625"/>
              <a:gd name="connsiteX1512" fmla="*/ 10209437 w 12192000"/>
              <a:gd name="connsiteY1512" fmla="*/ 6057767 h 6524625"/>
              <a:gd name="connsiteX1513" fmla="*/ 10208614 w 12192000"/>
              <a:gd name="connsiteY1513" fmla="*/ 6058889 h 6524625"/>
              <a:gd name="connsiteX1514" fmla="*/ 10207791 w 12192000"/>
              <a:gd name="connsiteY1514" fmla="*/ 6060135 h 6524625"/>
              <a:gd name="connsiteX1515" fmla="*/ 10207086 w 12192000"/>
              <a:gd name="connsiteY1515" fmla="*/ 6061382 h 6524625"/>
              <a:gd name="connsiteX1516" fmla="*/ 10206380 w 12192000"/>
              <a:gd name="connsiteY1516" fmla="*/ 6062628 h 6524625"/>
              <a:gd name="connsiteX1517" fmla="*/ 10205910 w 12192000"/>
              <a:gd name="connsiteY1517" fmla="*/ 6063999 h 6524625"/>
              <a:gd name="connsiteX1518" fmla="*/ 10205557 w 12192000"/>
              <a:gd name="connsiteY1518" fmla="*/ 6065494 h 6524625"/>
              <a:gd name="connsiteX1519" fmla="*/ 10205322 w 12192000"/>
              <a:gd name="connsiteY1519" fmla="*/ 6066990 h 6524625"/>
              <a:gd name="connsiteX1520" fmla="*/ 10205322 w 12192000"/>
              <a:gd name="connsiteY1520" fmla="*/ 6068485 h 6524625"/>
              <a:gd name="connsiteX1521" fmla="*/ 10205322 w 12192000"/>
              <a:gd name="connsiteY1521" fmla="*/ 6070106 h 6524625"/>
              <a:gd name="connsiteX1522" fmla="*/ 10205557 w 12192000"/>
              <a:gd name="connsiteY1522" fmla="*/ 6071477 h 6524625"/>
              <a:gd name="connsiteX1523" fmla="*/ 10205910 w 12192000"/>
              <a:gd name="connsiteY1523" fmla="*/ 6073097 h 6524625"/>
              <a:gd name="connsiteX1524" fmla="*/ 10206380 w 12192000"/>
              <a:gd name="connsiteY1524" fmla="*/ 6074468 h 6524625"/>
              <a:gd name="connsiteX1525" fmla="*/ 10207086 w 12192000"/>
              <a:gd name="connsiteY1525" fmla="*/ 6075714 h 6524625"/>
              <a:gd name="connsiteX1526" fmla="*/ 10207791 w 12192000"/>
              <a:gd name="connsiteY1526" fmla="*/ 6076960 h 6524625"/>
              <a:gd name="connsiteX1527" fmla="*/ 10208614 w 12192000"/>
              <a:gd name="connsiteY1527" fmla="*/ 6078207 h 6524625"/>
              <a:gd name="connsiteX1528" fmla="*/ 10209437 w 12192000"/>
              <a:gd name="connsiteY1528" fmla="*/ 6079204 h 6524625"/>
              <a:gd name="connsiteX1529" fmla="*/ 10210613 w 12192000"/>
              <a:gd name="connsiteY1529" fmla="*/ 6080201 h 6524625"/>
              <a:gd name="connsiteX1530" fmla="*/ 10211671 w 12192000"/>
              <a:gd name="connsiteY1530" fmla="*/ 6080948 h 6524625"/>
              <a:gd name="connsiteX1531" fmla="*/ 10212847 w 12192000"/>
              <a:gd name="connsiteY1531" fmla="*/ 6081821 h 6524625"/>
              <a:gd name="connsiteX1532" fmla="*/ 10214141 w 12192000"/>
              <a:gd name="connsiteY1532" fmla="*/ 6082444 h 6524625"/>
              <a:gd name="connsiteX1533" fmla="*/ 10215434 w 12192000"/>
              <a:gd name="connsiteY1533" fmla="*/ 6082942 h 6524625"/>
              <a:gd name="connsiteX1534" fmla="*/ 10216727 w 12192000"/>
              <a:gd name="connsiteY1534" fmla="*/ 6083316 h 6524625"/>
              <a:gd name="connsiteX1535" fmla="*/ 10218256 w 12192000"/>
              <a:gd name="connsiteY1535" fmla="*/ 6083566 h 6524625"/>
              <a:gd name="connsiteX1536" fmla="*/ 10219667 w 12192000"/>
              <a:gd name="connsiteY1536" fmla="*/ 6083690 h 6524625"/>
              <a:gd name="connsiteX1537" fmla="*/ 10221196 w 12192000"/>
              <a:gd name="connsiteY1537" fmla="*/ 6083566 h 6524625"/>
              <a:gd name="connsiteX1538" fmla="*/ 10222489 w 12192000"/>
              <a:gd name="connsiteY1538" fmla="*/ 6083316 h 6524625"/>
              <a:gd name="connsiteX1539" fmla="*/ 10223900 w 12192000"/>
              <a:gd name="connsiteY1539" fmla="*/ 6082942 h 6524625"/>
              <a:gd name="connsiteX1540" fmla="*/ 10225311 w 12192000"/>
              <a:gd name="connsiteY1540" fmla="*/ 6082444 h 6524625"/>
              <a:gd name="connsiteX1541" fmla="*/ 10226487 w 12192000"/>
              <a:gd name="connsiteY1541" fmla="*/ 6081821 h 6524625"/>
              <a:gd name="connsiteX1542" fmla="*/ 10227663 w 12192000"/>
              <a:gd name="connsiteY1542" fmla="*/ 6080948 h 6524625"/>
              <a:gd name="connsiteX1543" fmla="*/ 10228838 w 12192000"/>
              <a:gd name="connsiteY1543" fmla="*/ 6080201 h 6524625"/>
              <a:gd name="connsiteX1544" fmla="*/ 10229779 w 12192000"/>
              <a:gd name="connsiteY1544" fmla="*/ 6079204 h 6524625"/>
              <a:gd name="connsiteX1545" fmla="*/ 10230720 w 12192000"/>
              <a:gd name="connsiteY1545" fmla="*/ 6078207 h 6524625"/>
              <a:gd name="connsiteX1546" fmla="*/ 10231425 w 12192000"/>
              <a:gd name="connsiteY1546" fmla="*/ 6076960 h 6524625"/>
              <a:gd name="connsiteX1547" fmla="*/ 10232248 w 12192000"/>
              <a:gd name="connsiteY1547" fmla="*/ 6075714 h 6524625"/>
              <a:gd name="connsiteX1548" fmla="*/ 10232836 w 12192000"/>
              <a:gd name="connsiteY1548" fmla="*/ 6074468 h 6524625"/>
              <a:gd name="connsiteX1549" fmla="*/ 10233307 w 12192000"/>
              <a:gd name="connsiteY1549" fmla="*/ 6073097 h 6524625"/>
              <a:gd name="connsiteX1550" fmla="*/ 10233659 w 12192000"/>
              <a:gd name="connsiteY1550" fmla="*/ 6071477 h 6524625"/>
              <a:gd name="connsiteX1551" fmla="*/ 10233894 w 12192000"/>
              <a:gd name="connsiteY1551" fmla="*/ 6070106 h 6524625"/>
              <a:gd name="connsiteX1552" fmla="*/ 10234012 w 12192000"/>
              <a:gd name="connsiteY1552" fmla="*/ 6068485 h 6524625"/>
              <a:gd name="connsiteX1553" fmla="*/ 10233894 w 12192000"/>
              <a:gd name="connsiteY1553" fmla="*/ 6066990 h 6524625"/>
              <a:gd name="connsiteX1554" fmla="*/ 10233659 w 12192000"/>
              <a:gd name="connsiteY1554" fmla="*/ 6065494 h 6524625"/>
              <a:gd name="connsiteX1555" fmla="*/ 10233307 w 12192000"/>
              <a:gd name="connsiteY1555" fmla="*/ 6063999 h 6524625"/>
              <a:gd name="connsiteX1556" fmla="*/ 10232836 w 12192000"/>
              <a:gd name="connsiteY1556" fmla="*/ 6062628 h 6524625"/>
              <a:gd name="connsiteX1557" fmla="*/ 10232248 w 12192000"/>
              <a:gd name="connsiteY1557" fmla="*/ 6061382 h 6524625"/>
              <a:gd name="connsiteX1558" fmla="*/ 10231425 w 12192000"/>
              <a:gd name="connsiteY1558" fmla="*/ 6060135 h 6524625"/>
              <a:gd name="connsiteX1559" fmla="*/ 10230720 w 12192000"/>
              <a:gd name="connsiteY1559" fmla="*/ 6058889 h 6524625"/>
              <a:gd name="connsiteX1560" fmla="*/ 10229779 w 12192000"/>
              <a:gd name="connsiteY1560" fmla="*/ 6057767 h 6524625"/>
              <a:gd name="connsiteX1561" fmla="*/ 10228838 w 12192000"/>
              <a:gd name="connsiteY1561" fmla="*/ 6056895 h 6524625"/>
              <a:gd name="connsiteX1562" fmla="*/ 10227663 w 12192000"/>
              <a:gd name="connsiteY1562" fmla="*/ 6056022 h 6524625"/>
              <a:gd name="connsiteX1563" fmla="*/ 10226487 w 12192000"/>
              <a:gd name="connsiteY1563" fmla="*/ 6055150 h 6524625"/>
              <a:gd name="connsiteX1564" fmla="*/ 10225311 w 12192000"/>
              <a:gd name="connsiteY1564" fmla="*/ 6054527 h 6524625"/>
              <a:gd name="connsiteX1565" fmla="*/ 10223900 w 12192000"/>
              <a:gd name="connsiteY1565" fmla="*/ 6054028 h 6524625"/>
              <a:gd name="connsiteX1566" fmla="*/ 10222489 w 12192000"/>
              <a:gd name="connsiteY1566" fmla="*/ 6053655 h 6524625"/>
              <a:gd name="connsiteX1567" fmla="*/ 10221196 w 12192000"/>
              <a:gd name="connsiteY1567" fmla="*/ 6053405 h 6524625"/>
              <a:gd name="connsiteX1568" fmla="*/ 10219667 w 12192000"/>
              <a:gd name="connsiteY1568" fmla="*/ 6053405 h 6524625"/>
              <a:gd name="connsiteX1569" fmla="*/ 10332835 w 12192000"/>
              <a:gd name="connsiteY1569" fmla="*/ 6051812 h 6524625"/>
              <a:gd name="connsiteX1570" fmla="*/ 10332835 w 12192000"/>
              <a:gd name="connsiteY1570" fmla="*/ 6172949 h 6524625"/>
              <a:gd name="connsiteX1571" fmla="*/ 10359605 w 12192000"/>
              <a:gd name="connsiteY1571" fmla="*/ 6172949 h 6524625"/>
              <a:gd name="connsiteX1572" fmla="*/ 10359605 w 12192000"/>
              <a:gd name="connsiteY1572" fmla="*/ 6134650 h 6524625"/>
              <a:gd name="connsiteX1573" fmla="*/ 10359727 w 12192000"/>
              <a:gd name="connsiteY1573" fmla="*/ 6132937 h 6524625"/>
              <a:gd name="connsiteX1574" fmla="*/ 10359850 w 12192000"/>
              <a:gd name="connsiteY1574" fmla="*/ 6131347 h 6524625"/>
              <a:gd name="connsiteX1575" fmla="*/ 10359973 w 12192000"/>
              <a:gd name="connsiteY1575" fmla="*/ 6129756 h 6524625"/>
              <a:gd name="connsiteX1576" fmla="*/ 10360341 w 12192000"/>
              <a:gd name="connsiteY1576" fmla="*/ 6128043 h 6524625"/>
              <a:gd name="connsiteX1577" fmla="*/ 10360710 w 12192000"/>
              <a:gd name="connsiteY1577" fmla="*/ 6126575 h 6524625"/>
              <a:gd name="connsiteX1578" fmla="*/ 10361201 w 12192000"/>
              <a:gd name="connsiteY1578" fmla="*/ 6125106 h 6524625"/>
              <a:gd name="connsiteX1579" fmla="*/ 10361938 w 12192000"/>
              <a:gd name="connsiteY1579" fmla="*/ 6123638 h 6524625"/>
              <a:gd name="connsiteX1580" fmla="*/ 10362675 w 12192000"/>
              <a:gd name="connsiteY1580" fmla="*/ 6122414 h 6524625"/>
              <a:gd name="connsiteX1581" fmla="*/ 10363534 w 12192000"/>
              <a:gd name="connsiteY1581" fmla="*/ 6121191 h 6524625"/>
              <a:gd name="connsiteX1582" fmla="*/ 10364517 w 12192000"/>
              <a:gd name="connsiteY1582" fmla="*/ 6120089 h 6524625"/>
              <a:gd name="connsiteX1583" fmla="*/ 10365744 w 12192000"/>
              <a:gd name="connsiteY1583" fmla="*/ 6119111 h 6524625"/>
              <a:gd name="connsiteX1584" fmla="*/ 10366972 w 12192000"/>
              <a:gd name="connsiteY1584" fmla="*/ 6118376 h 6524625"/>
              <a:gd name="connsiteX1585" fmla="*/ 10368323 w 12192000"/>
              <a:gd name="connsiteY1585" fmla="*/ 6117765 h 6524625"/>
              <a:gd name="connsiteX1586" fmla="*/ 10370042 w 12192000"/>
              <a:gd name="connsiteY1586" fmla="*/ 6117275 h 6524625"/>
              <a:gd name="connsiteX1587" fmla="*/ 10371762 w 12192000"/>
              <a:gd name="connsiteY1587" fmla="*/ 6116908 h 6524625"/>
              <a:gd name="connsiteX1588" fmla="*/ 10373726 w 12192000"/>
              <a:gd name="connsiteY1588" fmla="*/ 6116786 h 6524625"/>
              <a:gd name="connsiteX1589" fmla="*/ 10375568 w 12192000"/>
              <a:gd name="connsiteY1589" fmla="*/ 6116908 h 6524625"/>
              <a:gd name="connsiteX1590" fmla="*/ 10377287 w 12192000"/>
              <a:gd name="connsiteY1590" fmla="*/ 6117275 h 6524625"/>
              <a:gd name="connsiteX1591" fmla="*/ 10378761 w 12192000"/>
              <a:gd name="connsiteY1591" fmla="*/ 6117765 h 6524625"/>
              <a:gd name="connsiteX1592" fmla="*/ 10380112 w 12192000"/>
              <a:gd name="connsiteY1592" fmla="*/ 6118376 h 6524625"/>
              <a:gd name="connsiteX1593" fmla="*/ 10381340 w 12192000"/>
              <a:gd name="connsiteY1593" fmla="*/ 6119111 h 6524625"/>
              <a:gd name="connsiteX1594" fmla="*/ 10382199 w 12192000"/>
              <a:gd name="connsiteY1594" fmla="*/ 6120089 h 6524625"/>
              <a:gd name="connsiteX1595" fmla="*/ 10383059 w 12192000"/>
              <a:gd name="connsiteY1595" fmla="*/ 6121191 h 6524625"/>
              <a:gd name="connsiteX1596" fmla="*/ 10383673 w 12192000"/>
              <a:gd name="connsiteY1596" fmla="*/ 6122414 h 6524625"/>
              <a:gd name="connsiteX1597" fmla="*/ 10384410 w 12192000"/>
              <a:gd name="connsiteY1597" fmla="*/ 6123638 h 6524625"/>
              <a:gd name="connsiteX1598" fmla="*/ 10384778 w 12192000"/>
              <a:gd name="connsiteY1598" fmla="*/ 6125106 h 6524625"/>
              <a:gd name="connsiteX1599" fmla="*/ 10385146 w 12192000"/>
              <a:gd name="connsiteY1599" fmla="*/ 6126575 h 6524625"/>
              <a:gd name="connsiteX1600" fmla="*/ 10385392 w 12192000"/>
              <a:gd name="connsiteY1600" fmla="*/ 6128043 h 6524625"/>
              <a:gd name="connsiteX1601" fmla="*/ 10385760 w 12192000"/>
              <a:gd name="connsiteY1601" fmla="*/ 6131347 h 6524625"/>
              <a:gd name="connsiteX1602" fmla="*/ 10385760 w 12192000"/>
              <a:gd name="connsiteY1602" fmla="*/ 6134650 h 6524625"/>
              <a:gd name="connsiteX1603" fmla="*/ 10385760 w 12192000"/>
              <a:gd name="connsiteY1603" fmla="*/ 6172949 h 6524625"/>
              <a:gd name="connsiteX1604" fmla="*/ 10412530 w 12192000"/>
              <a:gd name="connsiteY1604" fmla="*/ 6172949 h 6524625"/>
              <a:gd name="connsiteX1605" fmla="*/ 10412530 w 12192000"/>
              <a:gd name="connsiteY1605" fmla="*/ 6127186 h 6524625"/>
              <a:gd name="connsiteX1606" fmla="*/ 10412407 w 12192000"/>
              <a:gd name="connsiteY1606" fmla="*/ 6123638 h 6524625"/>
              <a:gd name="connsiteX1607" fmla="*/ 10412162 w 12192000"/>
              <a:gd name="connsiteY1607" fmla="*/ 6120334 h 6524625"/>
              <a:gd name="connsiteX1608" fmla="*/ 10411548 w 12192000"/>
              <a:gd name="connsiteY1608" fmla="*/ 6117275 h 6524625"/>
              <a:gd name="connsiteX1609" fmla="*/ 10410811 w 12192000"/>
              <a:gd name="connsiteY1609" fmla="*/ 6114216 h 6524625"/>
              <a:gd name="connsiteX1610" fmla="*/ 10410442 w 12192000"/>
              <a:gd name="connsiteY1610" fmla="*/ 6112870 h 6524625"/>
              <a:gd name="connsiteX1611" fmla="*/ 10409706 w 12192000"/>
              <a:gd name="connsiteY1611" fmla="*/ 6111402 h 6524625"/>
              <a:gd name="connsiteX1612" fmla="*/ 10409214 w 12192000"/>
              <a:gd name="connsiteY1612" fmla="*/ 6110178 h 6524625"/>
              <a:gd name="connsiteX1613" fmla="*/ 10408601 w 12192000"/>
              <a:gd name="connsiteY1613" fmla="*/ 6108955 h 6524625"/>
              <a:gd name="connsiteX1614" fmla="*/ 10407864 w 12192000"/>
              <a:gd name="connsiteY1614" fmla="*/ 6107609 h 6524625"/>
              <a:gd name="connsiteX1615" fmla="*/ 10407250 w 12192000"/>
              <a:gd name="connsiteY1615" fmla="*/ 6106507 h 6524625"/>
              <a:gd name="connsiteX1616" fmla="*/ 10406390 w 12192000"/>
              <a:gd name="connsiteY1616" fmla="*/ 6105406 h 6524625"/>
              <a:gd name="connsiteX1617" fmla="*/ 10405531 w 12192000"/>
              <a:gd name="connsiteY1617" fmla="*/ 6104305 h 6524625"/>
              <a:gd name="connsiteX1618" fmla="*/ 10404548 w 12192000"/>
              <a:gd name="connsiteY1618" fmla="*/ 6103326 h 6524625"/>
              <a:gd name="connsiteX1619" fmla="*/ 10403689 w 12192000"/>
              <a:gd name="connsiteY1619" fmla="*/ 6102347 h 6524625"/>
              <a:gd name="connsiteX1620" fmla="*/ 10402706 w 12192000"/>
              <a:gd name="connsiteY1620" fmla="*/ 6101491 h 6524625"/>
              <a:gd name="connsiteX1621" fmla="*/ 10401478 w 12192000"/>
              <a:gd name="connsiteY1621" fmla="*/ 6100634 h 6524625"/>
              <a:gd name="connsiteX1622" fmla="*/ 10400373 w 12192000"/>
              <a:gd name="connsiteY1622" fmla="*/ 6099900 h 6524625"/>
              <a:gd name="connsiteX1623" fmla="*/ 10399268 w 12192000"/>
              <a:gd name="connsiteY1623" fmla="*/ 6099166 h 6524625"/>
              <a:gd name="connsiteX1624" fmla="*/ 10397917 w 12192000"/>
              <a:gd name="connsiteY1624" fmla="*/ 6098554 h 6524625"/>
              <a:gd name="connsiteX1625" fmla="*/ 10396689 w 12192000"/>
              <a:gd name="connsiteY1625" fmla="*/ 6097942 h 6524625"/>
              <a:gd name="connsiteX1626" fmla="*/ 10395338 w 12192000"/>
              <a:gd name="connsiteY1626" fmla="*/ 6097453 h 6524625"/>
              <a:gd name="connsiteX1627" fmla="*/ 10393865 w 12192000"/>
              <a:gd name="connsiteY1627" fmla="*/ 6096963 h 6524625"/>
              <a:gd name="connsiteX1628" fmla="*/ 10392391 w 12192000"/>
              <a:gd name="connsiteY1628" fmla="*/ 6096596 h 6524625"/>
              <a:gd name="connsiteX1629" fmla="*/ 10390795 w 12192000"/>
              <a:gd name="connsiteY1629" fmla="*/ 6096352 h 6524625"/>
              <a:gd name="connsiteX1630" fmla="*/ 10389321 w 12192000"/>
              <a:gd name="connsiteY1630" fmla="*/ 6096107 h 6524625"/>
              <a:gd name="connsiteX1631" fmla="*/ 10387602 w 12192000"/>
              <a:gd name="connsiteY1631" fmla="*/ 6095862 h 6524625"/>
              <a:gd name="connsiteX1632" fmla="*/ 10385883 w 12192000"/>
              <a:gd name="connsiteY1632" fmla="*/ 6095740 h 6524625"/>
              <a:gd name="connsiteX1633" fmla="*/ 10384164 w 12192000"/>
              <a:gd name="connsiteY1633" fmla="*/ 6095740 h 6524625"/>
              <a:gd name="connsiteX1634" fmla="*/ 10382199 w 12192000"/>
              <a:gd name="connsiteY1634" fmla="*/ 6095740 h 6524625"/>
              <a:gd name="connsiteX1635" fmla="*/ 10380234 w 12192000"/>
              <a:gd name="connsiteY1635" fmla="*/ 6095862 h 6524625"/>
              <a:gd name="connsiteX1636" fmla="*/ 10378515 w 12192000"/>
              <a:gd name="connsiteY1636" fmla="*/ 6096107 h 6524625"/>
              <a:gd name="connsiteX1637" fmla="*/ 10376919 w 12192000"/>
              <a:gd name="connsiteY1637" fmla="*/ 6096474 h 6524625"/>
              <a:gd name="connsiteX1638" fmla="*/ 10375077 w 12192000"/>
              <a:gd name="connsiteY1638" fmla="*/ 6096841 h 6524625"/>
              <a:gd name="connsiteX1639" fmla="*/ 10373603 w 12192000"/>
              <a:gd name="connsiteY1639" fmla="*/ 6097330 h 6524625"/>
              <a:gd name="connsiteX1640" fmla="*/ 10371884 w 12192000"/>
              <a:gd name="connsiteY1640" fmla="*/ 6097942 h 6524625"/>
              <a:gd name="connsiteX1641" fmla="*/ 10370411 w 12192000"/>
              <a:gd name="connsiteY1641" fmla="*/ 6098554 h 6524625"/>
              <a:gd name="connsiteX1642" fmla="*/ 10368937 w 12192000"/>
              <a:gd name="connsiteY1642" fmla="*/ 6099411 h 6524625"/>
              <a:gd name="connsiteX1643" fmla="*/ 10367586 w 12192000"/>
              <a:gd name="connsiteY1643" fmla="*/ 6100267 h 6524625"/>
              <a:gd name="connsiteX1644" fmla="*/ 10366236 w 12192000"/>
              <a:gd name="connsiteY1644" fmla="*/ 6101246 h 6524625"/>
              <a:gd name="connsiteX1645" fmla="*/ 10364762 w 12192000"/>
              <a:gd name="connsiteY1645" fmla="*/ 6102347 h 6524625"/>
              <a:gd name="connsiteX1646" fmla="*/ 10363534 w 12192000"/>
              <a:gd name="connsiteY1646" fmla="*/ 6103448 h 6524625"/>
              <a:gd name="connsiteX1647" fmla="*/ 10362306 w 12192000"/>
              <a:gd name="connsiteY1647" fmla="*/ 6104794 h 6524625"/>
              <a:gd name="connsiteX1648" fmla="*/ 10361078 w 12192000"/>
              <a:gd name="connsiteY1648" fmla="*/ 6106140 h 6524625"/>
              <a:gd name="connsiteX1649" fmla="*/ 10359973 w 12192000"/>
              <a:gd name="connsiteY1649" fmla="*/ 6107609 h 6524625"/>
              <a:gd name="connsiteX1650" fmla="*/ 10359605 w 12192000"/>
              <a:gd name="connsiteY1650" fmla="*/ 6107609 h 6524625"/>
              <a:gd name="connsiteX1651" fmla="*/ 10359605 w 12192000"/>
              <a:gd name="connsiteY1651" fmla="*/ 6051812 h 6524625"/>
              <a:gd name="connsiteX1652" fmla="*/ 9957010 w 12192000"/>
              <a:gd name="connsiteY1652" fmla="*/ 5857355 h 6524625"/>
              <a:gd name="connsiteX1653" fmla="*/ 9968640 w 12192000"/>
              <a:gd name="connsiteY1653" fmla="*/ 5857476 h 6524625"/>
              <a:gd name="connsiteX1654" fmla="*/ 9974515 w 12192000"/>
              <a:gd name="connsiteY1654" fmla="*/ 5857717 h 6524625"/>
              <a:gd name="connsiteX1655" fmla="*/ 9980269 w 12192000"/>
              <a:gd name="connsiteY1655" fmla="*/ 5858319 h 6524625"/>
              <a:gd name="connsiteX1656" fmla="*/ 9983085 w 12192000"/>
              <a:gd name="connsiteY1656" fmla="*/ 5858680 h 6524625"/>
              <a:gd name="connsiteX1657" fmla="*/ 9985900 w 12192000"/>
              <a:gd name="connsiteY1657" fmla="*/ 5859042 h 6524625"/>
              <a:gd name="connsiteX1658" fmla="*/ 9988593 w 12192000"/>
              <a:gd name="connsiteY1658" fmla="*/ 5859644 h 6524625"/>
              <a:gd name="connsiteX1659" fmla="*/ 9991164 w 12192000"/>
              <a:gd name="connsiteY1659" fmla="*/ 5860246 h 6524625"/>
              <a:gd name="connsiteX1660" fmla="*/ 9993857 w 12192000"/>
              <a:gd name="connsiteY1660" fmla="*/ 5861210 h 6524625"/>
              <a:gd name="connsiteX1661" fmla="*/ 9996305 w 12192000"/>
              <a:gd name="connsiteY1661" fmla="*/ 5862053 h 6524625"/>
              <a:gd name="connsiteX1662" fmla="*/ 9998631 w 12192000"/>
              <a:gd name="connsiteY1662" fmla="*/ 5863017 h 6524625"/>
              <a:gd name="connsiteX1663" fmla="*/ 10000957 w 12192000"/>
              <a:gd name="connsiteY1663" fmla="*/ 5864221 h 6524625"/>
              <a:gd name="connsiteX1664" fmla="*/ 10003038 w 12192000"/>
              <a:gd name="connsiteY1664" fmla="*/ 5865546 h 6524625"/>
              <a:gd name="connsiteX1665" fmla="*/ 10004997 w 12192000"/>
              <a:gd name="connsiteY1665" fmla="*/ 5866992 h 6524625"/>
              <a:gd name="connsiteX1666" fmla="*/ 10006833 w 12192000"/>
              <a:gd name="connsiteY1666" fmla="*/ 5868558 h 6524625"/>
              <a:gd name="connsiteX1667" fmla="*/ 10008669 w 12192000"/>
              <a:gd name="connsiteY1667" fmla="*/ 5870485 h 6524625"/>
              <a:gd name="connsiteX1668" fmla="*/ 10010138 w 12192000"/>
              <a:gd name="connsiteY1668" fmla="*/ 5872412 h 6524625"/>
              <a:gd name="connsiteX1669" fmla="*/ 10011607 w 12192000"/>
              <a:gd name="connsiteY1669" fmla="*/ 5874580 h 6524625"/>
              <a:gd name="connsiteX1670" fmla="*/ 10012709 w 12192000"/>
              <a:gd name="connsiteY1670" fmla="*/ 5876989 h 6524625"/>
              <a:gd name="connsiteX1671" fmla="*/ 10013688 w 12192000"/>
              <a:gd name="connsiteY1671" fmla="*/ 5879519 h 6524625"/>
              <a:gd name="connsiteX1672" fmla="*/ 10014545 w 12192000"/>
              <a:gd name="connsiteY1672" fmla="*/ 5882410 h 6524625"/>
              <a:gd name="connsiteX1673" fmla="*/ 10015157 w 12192000"/>
              <a:gd name="connsiteY1673" fmla="*/ 5885301 h 6524625"/>
              <a:gd name="connsiteX1674" fmla="*/ 10015525 w 12192000"/>
              <a:gd name="connsiteY1674" fmla="*/ 5888553 h 6524625"/>
              <a:gd name="connsiteX1675" fmla="*/ 10015647 w 12192000"/>
              <a:gd name="connsiteY1675" fmla="*/ 5892046 h 6524625"/>
              <a:gd name="connsiteX1676" fmla="*/ 10015525 w 12192000"/>
              <a:gd name="connsiteY1676" fmla="*/ 5895299 h 6524625"/>
              <a:gd name="connsiteX1677" fmla="*/ 10015157 w 12192000"/>
              <a:gd name="connsiteY1677" fmla="*/ 5898310 h 6524625"/>
              <a:gd name="connsiteX1678" fmla="*/ 10014545 w 12192000"/>
              <a:gd name="connsiteY1678" fmla="*/ 5900960 h 6524625"/>
              <a:gd name="connsiteX1679" fmla="*/ 10013688 w 12192000"/>
              <a:gd name="connsiteY1679" fmla="*/ 5903610 h 6524625"/>
              <a:gd name="connsiteX1680" fmla="*/ 10012709 w 12192000"/>
              <a:gd name="connsiteY1680" fmla="*/ 5906019 h 6524625"/>
              <a:gd name="connsiteX1681" fmla="*/ 10011607 w 12192000"/>
              <a:gd name="connsiteY1681" fmla="*/ 5908308 h 6524625"/>
              <a:gd name="connsiteX1682" fmla="*/ 10010138 w 12192000"/>
              <a:gd name="connsiteY1682" fmla="*/ 5910235 h 6524625"/>
              <a:gd name="connsiteX1683" fmla="*/ 10008669 w 12192000"/>
              <a:gd name="connsiteY1683" fmla="*/ 5912162 h 6524625"/>
              <a:gd name="connsiteX1684" fmla="*/ 10006833 w 12192000"/>
              <a:gd name="connsiteY1684" fmla="*/ 5913849 h 6524625"/>
              <a:gd name="connsiteX1685" fmla="*/ 10004997 w 12192000"/>
              <a:gd name="connsiteY1685" fmla="*/ 5915535 h 6524625"/>
              <a:gd name="connsiteX1686" fmla="*/ 10002916 w 12192000"/>
              <a:gd name="connsiteY1686" fmla="*/ 5916860 h 6524625"/>
              <a:gd name="connsiteX1687" fmla="*/ 10000957 w 12192000"/>
              <a:gd name="connsiteY1687" fmla="*/ 5918185 h 6524625"/>
              <a:gd name="connsiteX1688" fmla="*/ 9998631 w 12192000"/>
              <a:gd name="connsiteY1688" fmla="*/ 5919390 h 6524625"/>
              <a:gd name="connsiteX1689" fmla="*/ 9996305 w 12192000"/>
              <a:gd name="connsiteY1689" fmla="*/ 5920474 h 6524625"/>
              <a:gd name="connsiteX1690" fmla="*/ 9993857 w 12192000"/>
              <a:gd name="connsiteY1690" fmla="*/ 5921317 h 6524625"/>
              <a:gd name="connsiteX1691" fmla="*/ 9991286 w 12192000"/>
              <a:gd name="connsiteY1691" fmla="*/ 5922160 h 6524625"/>
              <a:gd name="connsiteX1692" fmla="*/ 9988838 w 12192000"/>
              <a:gd name="connsiteY1692" fmla="*/ 5922883 h 6524625"/>
              <a:gd name="connsiteX1693" fmla="*/ 9986022 w 12192000"/>
              <a:gd name="connsiteY1693" fmla="*/ 5923485 h 6524625"/>
              <a:gd name="connsiteX1694" fmla="*/ 9983329 w 12192000"/>
              <a:gd name="connsiteY1694" fmla="*/ 5924087 h 6524625"/>
              <a:gd name="connsiteX1695" fmla="*/ 9980514 w 12192000"/>
              <a:gd name="connsiteY1695" fmla="*/ 5924449 h 6524625"/>
              <a:gd name="connsiteX1696" fmla="*/ 9977821 w 12192000"/>
              <a:gd name="connsiteY1696" fmla="*/ 5924810 h 6524625"/>
              <a:gd name="connsiteX1697" fmla="*/ 9975005 w 12192000"/>
              <a:gd name="connsiteY1697" fmla="*/ 5925172 h 6524625"/>
              <a:gd name="connsiteX1698" fmla="*/ 9972190 w 12192000"/>
              <a:gd name="connsiteY1698" fmla="*/ 5925412 h 6524625"/>
              <a:gd name="connsiteX1699" fmla="*/ 9969374 w 12192000"/>
              <a:gd name="connsiteY1699" fmla="*/ 5925533 h 6524625"/>
              <a:gd name="connsiteX1700" fmla="*/ 9963865 w 12192000"/>
              <a:gd name="connsiteY1700" fmla="*/ 5925774 h 6524625"/>
              <a:gd name="connsiteX1701" fmla="*/ 9958357 w 12192000"/>
              <a:gd name="connsiteY1701" fmla="*/ 5925894 h 6524625"/>
              <a:gd name="connsiteX1702" fmla="*/ 9953215 w 12192000"/>
              <a:gd name="connsiteY1702" fmla="*/ 5925894 h 6524625"/>
              <a:gd name="connsiteX1703" fmla="*/ 9948319 w 12192000"/>
              <a:gd name="connsiteY1703" fmla="*/ 5925894 h 6524625"/>
              <a:gd name="connsiteX1704" fmla="*/ 9937546 w 12192000"/>
              <a:gd name="connsiteY1704" fmla="*/ 5925894 h 6524625"/>
              <a:gd name="connsiteX1705" fmla="*/ 9937546 w 12192000"/>
              <a:gd name="connsiteY1705" fmla="*/ 5857476 h 6524625"/>
              <a:gd name="connsiteX1706" fmla="*/ 9946115 w 12192000"/>
              <a:gd name="connsiteY1706" fmla="*/ 5857476 h 6524625"/>
              <a:gd name="connsiteX1707" fmla="*/ 10253139 w 12192000"/>
              <a:gd name="connsiteY1707" fmla="*/ 5830258 h 6524625"/>
              <a:gd name="connsiteX1708" fmla="*/ 10256096 w 12192000"/>
              <a:gd name="connsiteY1708" fmla="*/ 5830383 h 6524625"/>
              <a:gd name="connsiteX1709" fmla="*/ 10259053 w 12192000"/>
              <a:gd name="connsiteY1709" fmla="*/ 5830507 h 6524625"/>
              <a:gd name="connsiteX1710" fmla="*/ 10261763 w 12192000"/>
              <a:gd name="connsiteY1710" fmla="*/ 5830880 h 6524625"/>
              <a:gd name="connsiteX1711" fmla="*/ 10264597 w 12192000"/>
              <a:gd name="connsiteY1711" fmla="*/ 5831252 h 6524625"/>
              <a:gd name="connsiteX1712" fmla="*/ 10267307 w 12192000"/>
              <a:gd name="connsiteY1712" fmla="*/ 5831874 h 6524625"/>
              <a:gd name="connsiteX1713" fmla="*/ 10269894 w 12192000"/>
              <a:gd name="connsiteY1713" fmla="*/ 5832495 h 6524625"/>
              <a:gd name="connsiteX1714" fmla="*/ 10272235 w 12192000"/>
              <a:gd name="connsiteY1714" fmla="*/ 5833365 h 6524625"/>
              <a:gd name="connsiteX1715" fmla="*/ 10274699 w 12192000"/>
              <a:gd name="connsiteY1715" fmla="*/ 5834359 h 6524625"/>
              <a:gd name="connsiteX1716" fmla="*/ 10277040 w 12192000"/>
              <a:gd name="connsiteY1716" fmla="*/ 5835354 h 6524625"/>
              <a:gd name="connsiteX1717" fmla="*/ 10279258 w 12192000"/>
              <a:gd name="connsiteY1717" fmla="*/ 5836472 h 6524625"/>
              <a:gd name="connsiteX1718" fmla="*/ 10281352 w 12192000"/>
              <a:gd name="connsiteY1718" fmla="*/ 5837591 h 6524625"/>
              <a:gd name="connsiteX1719" fmla="*/ 10283323 w 12192000"/>
              <a:gd name="connsiteY1719" fmla="*/ 5839082 h 6524625"/>
              <a:gd name="connsiteX1720" fmla="*/ 10285418 w 12192000"/>
              <a:gd name="connsiteY1720" fmla="*/ 5840449 h 6524625"/>
              <a:gd name="connsiteX1721" fmla="*/ 10287142 w 12192000"/>
              <a:gd name="connsiteY1721" fmla="*/ 5841940 h 6524625"/>
              <a:gd name="connsiteX1722" fmla="*/ 10288990 w 12192000"/>
              <a:gd name="connsiteY1722" fmla="*/ 5843556 h 6524625"/>
              <a:gd name="connsiteX1723" fmla="*/ 10290715 w 12192000"/>
              <a:gd name="connsiteY1723" fmla="*/ 5845172 h 6524625"/>
              <a:gd name="connsiteX1724" fmla="*/ 10292317 w 12192000"/>
              <a:gd name="connsiteY1724" fmla="*/ 5847036 h 6524625"/>
              <a:gd name="connsiteX1725" fmla="*/ 10293795 w 12192000"/>
              <a:gd name="connsiteY1725" fmla="*/ 5848776 h 6524625"/>
              <a:gd name="connsiteX1726" fmla="*/ 10295150 w 12192000"/>
              <a:gd name="connsiteY1726" fmla="*/ 5850640 h 6524625"/>
              <a:gd name="connsiteX1727" fmla="*/ 10296506 w 12192000"/>
              <a:gd name="connsiteY1727" fmla="*/ 5852753 h 6524625"/>
              <a:gd name="connsiteX1728" fmla="*/ 10297614 w 12192000"/>
              <a:gd name="connsiteY1728" fmla="*/ 5854741 h 6524625"/>
              <a:gd name="connsiteX1729" fmla="*/ 10298723 w 12192000"/>
              <a:gd name="connsiteY1729" fmla="*/ 5856854 h 6524625"/>
              <a:gd name="connsiteX1730" fmla="*/ 10299832 w 12192000"/>
              <a:gd name="connsiteY1730" fmla="*/ 5858967 h 6524625"/>
              <a:gd name="connsiteX1731" fmla="*/ 10300694 w 12192000"/>
              <a:gd name="connsiteY1731" fmla="*/ 5861328 h 6524625"/>
              <a:gd name="connsiteX1732" fmla="*/ 10301434 w 12192000"/>
              <a:gd name="connsiteY1732" fmla="*/ 5863441 h 6524625"/>
              <a:gd name="connsiteX1733" fmla="*/ 10302050 w 12192000"/>
              <a:gd name="connsiteY1733" fmla="*/ 5865926 h 6524625"/>
              <a:gd name="connsiteX1734" fmla="*/ 10302666 w 12192000"/>
              <a:gd name="connsiteY1734" fmla="*/ 5868163 h 6524625"/>
              <a:gd name="connsiteX1735" fmla="*/ 10303282 w 12192000"/>
              <a:gd name="connsiteY1735" fmla="*/ 5870649 h 6524625"/>
              <a:gd name="connsiteX1736" fmla="*/ 10303651 w 12192000"/>
              <a:gd name="connsiteY1736" fmla="*/ 5873134 h 6524625"/>
              <a:gd name="connsiteX1737" fmla="*/ 10303898 w 12192000"/>
              <a:gd name="connsiteY1737" fmla="*/ 5875620 h 6524625"/>
              <a:gd name="connsiteX1738" fmla="*/ 10304021 w 12192000"/>
              <a:gd name="connsiteY1738" fmla="*/ 5878105 h 6524625"/>
              <a:gd name="connsiteX1739" fmla="*/ 10304144 w 12192000"/>
              <a:gd name="connsiteY1739" fmla="*/ 5880591 h 6524625"/>
              <a:gd name="connsiteX1740" fmla="*/ 10304021 w 12192000"/>
              <a:gd name="connsiteY1740" fmla="*/ 5883325 h 6524625"/>
              <a:gd name="connsiteX1741" fmla="*/ 10303898 w 12192000"/>
              <a:gd name="connsiteY1741" fmla="*/ 5885935 h 6524625"/>
              <a:gd name="connsiteX1742" fmla="*/ 10303651 w 12192000"/>
              <a:gd name="connsiteY1742" fmla="*/ 5888421 h 6524625"/>
              <a:gd name="connsiteX1743" fmla="*/ 10303282 w 12192000"/>
              <a:gd name="connsiteY1743" fmla="*/ 5891030 h 6524625"/>
              <a:gd name="connsiteX1744" fmla="*/ 10302666 w 12192000"/>
              <a:gd name="connsiteY1744" fmla="*/ 5893392 h 6524625"/>
              <a:gd name="connsiteX1745" fmla="*/ 10302050 w 12192000"/>
              <a:gd name="connsiteY1745" fmla="*/ 5895753 h 6524625"/>
              <a:gd name="connsiteX1746" fmla="*/ 10301434 w 12192000"/>
              <a:gd name="connsiteY1746" fmla="*/ 5898114 h 6524625"/>
              <a:gd name="connsiteX1747" fmla="*/ 10300694 w 12192000"/>
              <a:gd name="connsiteY1747" fmla="*/ 5900476 h 6524625"/>
              <a:gd name="connsiteX1748" fmla="*/ 10299832 w 12192000"/>
              <a:gd name="connsiteY1748" fmla="*/ 5902588 h 6524625"/>
              <a:gd name="connsiteX1749" fmla="*/ 10298723 w 12192000"/>
              <a:gd name="connsiteY1749" fmla="*/ 5904825 h 6524625"/>
              <a:gd name="connsiteX1750" fmla="*/ 10297614 w 12192000"/>
              <a:gd name="connsiteY1750" fmla="*/ 5906814 h 6524625"/>
              <a:gd name="connsiteX1751" fmla="*/ 10296506 w 12192000"/>
              <a:gd name="connsiteY1751" fmla="*/ 5908927 h 6524625"/>
              <a:gd name="connsiteX1752" fmla="*/ 10295150 w 12192000"/>
              <a:gd name="connsiteY1752" fmla="*/ 5910791 h 6524625"/>
              <a:gd name="connsiteX1753" fmla="*/ 10293795 w 12192000"/>
              <a:gd name="connsiteY1753" fmla="*/ 5912779 h 6524625"/>
              <a:gd name="connsiteX1754" fmla="*/ 10292317 w 12192000"/>
              <a:gd name="connsiteY1754" fmla="*/ 5914519 h 6524625"/>
              <a:gd name="connsiteX1755" fmla="*/ 10290715 w 12192000"/>
              <a:gd name="connsiteY1755" fmla="*/ 5916259 h 6524625"/>
              <a:gd name="connsiteX1756" fmla="*/ 10288990 w 12192000"/>
              <a:gd name="connsiteY1756" fmla="*/ 5917875 h 6524625"/>
              <a:gd name="connsiteX1757" fmla="*/ 10287142 w 12192000"/>
              <a:gd name="connsiteY1757" fmla="*/ 5919366 h 6524625"/>
              <a:gd name="connsiteX1758" fmla="*/ 10285418 w 12192000"/>
              <a:gd name="connsiteY1758" fmla="*/ 5920982 h 6524625"/>
              <a:gd name="connsiteX1759" fmla="*/ 10283323 w 12192000"/>
              <a:gd name="connsiteY1759" fmla="*/ 5922349 h 6524625"/>
              <a:gd name="connsiteX1760" fmla="*/ 10281352 w 12192000"/>
              <a:gd name="connsiteY1760" fmla="*/ 5923591 h 6524625"/>
              <a:gd name="connsiteX1761" fmla="*/ 10279258 w 12192000"/>
              <a:gd name="connsiteY1761" fmla="*/ 5924834 h 6524625"/>
              <a:gd name="connsiteX1762" fmla="*/ 10277040 w 12192000"/>
              <a:gd name="connsiteY1762" fmla="*/ 5925828 h 6524625"/>
              <a:gd name="connsiteX1763" fmla="*/ 10274699 w 12192000"/>
              <a:gd name="connsiteY1763" fmla="*/ 5926823 h 6524625"/>
              <a:gd name="connsiteX1764" fmla="*/ 10272235 w 12192000"/>
              <a:gd name="connsiteY1764" fmla="*/ 5927693 h 6524625"/>
              <a:gd name="connsiteX1765" fmla="*/ 10269894 w 12192000"/>
              <a:gd name="connsiteY1765" fmla="*/ 5928438 h 6524625"/>
              <a:gd name="connsiteX1766" fmla="*/ 10267307 w 12192000"/>
              <a:gd name="connsiteY1766" fmla="*/ 5929184 h 6524625"/>
              <a:gd name="connsiteX1767" fmla="*/ 10264597 w 12192000"/>
              <a:gd name="connsiteY1767" fmla="*/ 5929681 h 6524625"/>
              <a:gd name="connsiteX1768" fmla="*/ 10261763 w 12192000"/>
              <a:gd name="connsiteY1768" fmla="*/ 5930178 h 6524625"/>
              <a:gd name="connsiteX1769" fmla="*/ 10259053 w 12192000"/>
              <a:gd name="connsiteY1769" fmla="*/ 5930427 h 6524625"/>
              <a:gd name="connsiteX1770" fmla="*/ 10256096 w 12192000"/>
              <a:gd name="connsiteY1770" fmla="*/ 5930675 h 6524625"/>
              <a:gd name="connsiteX1771" fmla="*/ 10253139 w 12192000"/>
              <a:gd name="connsiteY1771" fmla="*/ 5930675 h 6524625"/>
              <a:gd name="connsiteX1772" fmla="*/ 10250182 w 12192000"/>
              <a:gd name="connsiteY1772" fmla="*/ 5930675 h 6524625"/>
              <a:gd name="connsiteX1773" fmla="*/ 10247349 w 12192000"/>
              <a:gd name="connsiteY1773" fmla="*/ 5930427 h 6524625"/>
              <a:gd name="connsiteX1774" fmla="*/ 10244515 w 12192000"/>
              <a:gd name="connsiteY1774" fmla="*/ 5930178 h 6524625"/>
              <a:gd name="connsiteX1775" fmla="*/ 10241681 w 12192000"/>
              <a:gd name="connsiteY1775" fmla="*/ 5929681 h 6524625"/>
              <a:gd name="connsiteX1776" fmla="*/ 10238971 w 12192000"/>
              <a:gd name="connsiteY1776" fmla="*/ 5929184 h 6524625"/>
              <a:gd name="connsiteX1777" fmla="*/ 10236507 w 12192000"/>
              <a:gd name="connsiteY1777" fmla="*/ 5928438 h 6524625"/>
              <a:gd name="connsiteX1778" fmla="*/ 10234043 w 12192000"/>
              <a:gd name="connsiteY1778" fmla="*/ 5927693 h 6524625"/>
              <a:gd name="connsiteX1779" fmla="*/ 10231579 w 12192000"/>
              <a:gd name="connsiteY1779" fmla="*/ 5926823 h 6524625"/>
              <a:gd name="connsiteX1780" fmla="*/ 10229361 w 12192000"/>
              <a:gd name="connsiteY1780" fmla="*/ 5925828 h 6524625"/>
              <a:gd name="connsiteX1781" fmla="*/ 10227020 w 12192000"/>
              <a:gd name="connsiteY1781" fmla="*/ 5924834 h 6524625"/>
              <a:gd name="connsiteX1782" fmla="*/ 10224803 w 12192000"/>
              <a:gd name="connsiteY1782" fmla="*/ 5923591 h 6524625"/>
              <a:gd name="connsiteX1783" fmla="*/ 10222832 w 12192000"/>
              <a:gd name="connsiteY1783" fmla="*/ 5922349 h 6524625"/>
              <a:gd name="connsiteX1784" fmla="*/ 10220860 w 12192000"/>
              <a:gd name="connsiteY1784" fmla="*/ 5920982 h 6524625"/>
              <a:gd name="connsiteX1785" fmla="*/ 10219012 w 12192000"/>
              <a:gd name="connsiteY1785" fmla="*/ 5919366 h 6524625"/>
              <a:gd name="connsiteX1786" fmla="*/ 10217164 w 12192000"/>
              <a:gd name="connsiteY1786" fmla="*/ 5917875 h 6524625"/>
              <a:gd name="connsiteX1787" fmla="*/ 10215563 w 12192000"/>
              <a:gd name="connsiteY1787" fmla="*/ 5916259 h 6524625"/>
              <a:gd name="connsiteX1788" fmla="*/ 10214084 w 12192000"/>
              <a:gd name="connsiteY1788" fmla="*/ 5914519 h 6524625"/>
              <a:gd name="connsiteX1789" fmla="*/ 10212483 w 12192000"/>
              <a:gd name="connsiteY1789" fmla="*/ 5912779 h 6524625"/>
              <a:gd name="connsiteX1790" fmla="*/ 10211128 w 12192000"/>
              <a:gd name="connsiteY1790" fmla="*/ 5910791 h 6524625"/>
              <a:gd name="connsiteX1791" fmla="*/ 10209772 w 12192000"/>
              <a:gd name="connsiteY1791" fmla="*/ 5908927 h 6524625"/>
              <a:gd name="connsiteX1792" fmla="*/ 10208540 w 12192000"/>
              <a:gd name="connsiteY1792" fmla="*/ 5906814 h 6524625"/>
              <a:gd name="connsiteX1793" fmla="*/ 10207555 w 12192000"/>
              <a:gd name="connsiteY1793" fmla="*/ 5904825 h 6524625"/>
              <a:gd name="connsiteX1794" fmla="*/ 10206569 w 12192000"/>
              <a:gd name="connsiteY1794" fmla="*/ 5902588 h 6524625"/>
              <a:gd name="connsiteX1795" fmla="*/ 10205584 w 12192000"/>
              <a:gd name="connsiteY1795" fmla="*/ 5900476 h 6524625"/>
              <a:gd name="connsiteX1796" fmla="*/ 10204844 w 12192000"/>
              <a:gd name="connsiteY1796" fmla="*/ 5898114 h 6524625"/>
              <a:gd name="connsiteX1797" fmla="*/ 10204105 w 12192000"/>
              <a:gd name="connsiteY1797" fmla="*/ 5895753 h 6524625"/>
              <a:gd name="connsiteX1798" fmla="*/ 10203612 w 12192000"/>
              <a:gd name="connsiteY1798" fmla="*/ 5893392 h 6524625"/>
              <a:gd name="connsiteX1799" fmla="*/ 10203120 w 12192000"/>
              <a:gd name="connsiteY1799" fmla="*/ 5891030 h 6524625"/>
              <a:gd name="connsiteX1800" fmla="*/ 10202750 w 12192000"/>
              <a:gd name="connsiteY1800" fmla="*/ 5888421 h 6524625"/>
              <a:gd name="connsiteX1801" fmla="*/ 10202380 w 12192000"/>
              <a:gd name="connsiteY1801" fmla="*/ 5885935 h 6524625"/>
              <a:gd name="connsiteX1802" fmla="*/ 10202257 w 12192000"/>
              <a:gd name="connsiteY1802" fmla="*/ 5883325 h 6524625"/>
              <a:gd name="connsiteX1803" fmla="*/ 10202134 w 12192000"/>
              <a:gd name="connsiteY1803" fmla="*/ 5880591 h 6524625"/>
              <a:gd name="connsiteX1804" fmla="*/ 10202257 w 12192000"/>
              <a:gd name="connsiteY1804" fmla="*/ 5878105 h 6524625"/>
              <a:gd name="connsiteX1805" fmla="*/ 10202380 w 12192000"/>
              <a:gd name="connsiteY1805" fmla="*/ 5875620 h 6524625"/>
              <a:gd name="connsiteX1806" fmla="*/ 10202750 w 12192000"/>
              <a:gd name="connsiteY1806" fmla="*/ 5873134 h 6524625"/>
              <a:gd name="connsiteX1807" fmla="*/ 10203120 w 12192000"/>
              <a:gd name="connsiteY1807" fmla="*/ 5870649 h 6524625"/>
              <a:gd name="connsiteX1808" fmla="*/ 10203612 w 12192000"/>
              <a:gd name="connsiteY1808" fmla="*/ 5868163 h 6524625"/>
              <a:gd name="connsiteX1809" fmla="*/ 10204105 w 12192000"/>
              <a:gd name="connsiteY1809" fmla="*/ 5865926 h 6524625"/>
              <a:gd name="connsiteX1810" fmla="*/ 10204844 w 12192000"/>
              <a:gd name="connsiteY1810" fmla="*/ 5863441 h 6524625"/>
              <a:gd name="connsiteX1811" fmla="*/ 10205584 w 12192000"/>
              <a:gd name="connsiteY1811" fmla="*/ 5861328 h 6524625"/>
              <a:gd name="connsiteX1812" fmla="*/ 10206569 w 12192000"/>
              <a:gd name="connsiteY1812" fmla="*/ 5858967 h 6524625"/>
              <a:gd name="connsiteX1813" fmla="*/ 10207555 w 12192000"/>
              <a:gd name="connsiteY1813" fmla="*/ 5856854 h 6524625"/>
              <a:gd name="connsiteX1814" fmla="*/ 10208540 w 12192000"/>
              <a:gd name="connsiteY1814" fmla="*/ 5854741 h 6524625"/>
              <a:gd name="connsiteX1815" fmla="*/ 10209772 w 12192000"/>
              <a:gd name="connsiteY1815" fmla="*/ 5852753 h 6524625"/>
              <a:gd name="connsiteX1816" fmla="*/ 10211128 w 12192000"/>
              <a:gd name="connsiteY1816" fmla="*/ 5850640 h 6524625"/>
              <a:gd name="connsiteX1817" fmla="*/ 10212483 w 12192000"/>
              <a:gd name="connsiteY1817" fmla="*/ 5848776 h 6524625"/>
              <a:gd name="connsiteX1818" fmla="*/ 10214084 w 12192000"/>
              <a:gd name="connsiteY1818" fmla="*/ 5847036 h 6524625"/>
              <a:gd name="connsiteX1819" fmla="*/ 10215563 w 12192000"/>
              <a:gd name="connsiteY1819" fmla="*/ 5845172 h 6524625"/>
              <a:gd name="connsiteX1820" fmla="*/ 10217164 w 12192000"/>
              <a:gd name="connsiteY1820" fmla="*/ 5843556 h 6524625"/>
              <a:gd name="connsiteX1821" fmla="*/ 10219012 w 12192000"/>
              <a:gd name="connsiteY1821" fmla="*/ 5841940 h 6524625"/>
              <a:gd name="connsiteX1822" fmla="*/ 10220860 w 12192000"/>
              <a:gd name="connsiteY1822" fmla="*/ 5840449 h 6524625"/>
              <a:gd name="connsiteX1823" fmla="*/ 10222832 w 12192000"/>
              <a:gd name="connsiteY1823" fmla="*/ 5839082 h 6524625"/>
              <a:gd name="connsiteX1824" fmla="*/ 10224803 w 12192000"/>
              <a:gd name="connsiteY1824" fmla="*/ 5837591 h 6524625"/>
              <a:gd name="connsiteX1825" fmla="*/ 10227020 w 12192000"/>
              <a:gd name="connsiteY1825" fmla="*/ 5836472 h 6524625"/>
              <a:gd name="connsiteX1826" fmla="*/ 10229361 w 12192000"/>
              <a:gd name="connsiteY1826" fmla="*/ 5835354 h 6524625"/>
              <a:gd name="connsiteX1827" fmla="*/ 10231579 w 12192000"/>
              <a:gd name="connsiteY1827" fmla="*/ 5834359 h 6524625"/>
              <a:gd name="connsiteX1828" fmla="*/ 10234043 w 12192000"/>
              <a:gd name="connsiteY1828" fmla="*/ 5833365 h 6524625"/>
              <a:gd name="connsiteX1829" fmla="*/ 10236507 w 12192000"/>
              <a:gd name="connsiteY1829" fmla="*/ 5832495 h 6524625"/>
              <a:gd name="connsiteX1830" fmla="*/ 10238971 w 12192000"/>
              <a:gd name="connsiteY1830" fmla="*/ 5831874 h 6524625"/>
              <a:gd name="connsiteX1831" fmla="*/ 10241681 w 12192000"/>
              <a:gd name="connsiteY1831" fmla="*/ 5831252 h 6524625"/>
              <a:gd name="connsiteX1832" fmla="*/ 10244515 w 12192000"/>
              <a:gd name="connsiteY1832" fmla="*/ 5830880 h 6524625"/>
              <a:gd name="connsiteX1833" fmla="*/ 10247349 w 12192000"/>
              <a:gd name="connsiteY1833" fmla="*/ 5830507 h 6524625"/>
              <a:gd name="connsiteX1834" fmla="*/ 10250182 w 12192000"/>
              <a:gd name="connsiteY1834" fmla="*/ 5830383 h 6524625"/>
              <a:gd name="connsiteX1835" fmla="*/ 10860720 w 12192000"/>
              <a:gd name="connsiteY1835" fmla="*/ 5814319 h 6524625"/>
              <a:gd name="connsiteX1836" fmla="*/ 10862552 w 12192000"/>
              <a:gd name="connsiteY1836" fmla="*/ 5814438 h 6524625"/>
              <a:gd name="connsiteX1837" fmla="*/ 10864628 w 12192000"/>
              <a:gd name="connsiteY1837" fmla="*/ 5814556 h 6524625"/>
              <a:gd name="connsiteX1838" fmla="*/ 10866459 w 12192000"/>
              <a:gd name="connsiteY1838" fmla="*/ 5814674 h 6524625"/>
              <a:gd name="connsiteX1839" fmla="*/ 10868413 w 12192000"/>
              <a:gd name="connsiteY1839" fmla="*/ 5814911 h 6524625"/>
              <a:gd name="connsiteX1840" fmla="*/ 10870367 w 12192000"/>
              <a:gd name="connsiteY1840" fmla="*/ 5815265 h 6524625"/>
              <a:gd name="connsiteX1841" fmla="*/ 10872199 w 12192000"/>
              <a:gd name="connsiteY1841" fmla="*/ 5815620 h 6524625"/>
              <a:gd name="connsiteX1842" fmla="*/ 10874030 w 12192000"/>
              <a:gd name="connsiteY1842" fmla="*/ 5816093 h 6524625"/>
              <a:gd name="connsiteX1843" fmla="*/ 10875984 w 12192000"/>
              <a:gd name="connsiteY1843" fmla="*/ 5816685 h 6524625"/>
              <a:gd name="connsiteX1844" fmla="*/ 10877694 w 12192000"/>
              <a:gd name="connsiteY1844" fmla="*/ 5817276 h 6524625"/>
              <a:gd name="connsiteX1845" fmla="*/ 10879525 w 12192000"/>
              <a:gd name="connsiteY1845" fmla="*/ 5818104 h 6524625"/>
              <a:gd name="connsiteX1846" fmla="*/ 10881235 w 12192000"/>
              <a:gd name="connsiteY1846" fmla="*/ 5818814 h 6524625"/>
              <a:gd name="connsiteX1847" fmla="*/ 10882945 w 12192000"/>
              <a:gd name="connsiteY1847" fmla="*/ 5819524 h 6524625"/>
              <a:gd name="connsiteX1848" fmla="*/ 10884532 w 12192000"/>
              <a:gd name="connsiteY1848" fmla="*/ 5820470 h 6524625"/>
              <a:gd name="connsiteX1849" fmla="*/ 10886242 w 12192000"/>
              <a:gd name="connsiteY1849" fmla="*/ 5821298 h 6524625"/>
              <a:gd name="connsiteX1850" fmla="*/ 10887707 w 12192000"/>
              <a:gd name="connsiteY1850" fmla="*/ 5822481 h 6524625"/>
              <a:gd name="connsiteX1851" fmla="*/ 10889172 w 12192000"/>
              <a:gd name="connsiteY1851" fmla="*/ 5823427 h 6524625"/>
              <a:gd name="connsiteX1852" fmla="*/ 10890760 w 12192000"/>
              <a:gd name="connsiteY1852" fmla="*/ 5824610 h 6524625"/>
              <a:gd name="connsiteX1853" fmla="*/ 10892103 w 12192000"/>
              <a:gd name="connsiteY1853" fmla="*/ 5825674 h 6524625"/>
              <a:gd name="connsiteX1854" fmla="*/ 10893568 w 12192000"/>
              <a:gd name="connsiteY1854" fmla="*/ 5826975 h 6524625"/>
              <a:gd name="connsiteX1855" fmla="*/ 10894790 w 12192000"/>
              <a:gd name="connsiteY1855" fmla="*/ 5828276 h 6524625"/>
              <a:gd name="connsiteX1856" fmla="*/ 10896011 w 12192000"/>
              <a:gd name="connsiteY1856" fmla="*/ 5829577 h 6524625"/>
              <a:gd name="connsiteX1857" fmla="*/ 10897232 w 12192000"/>
              <a:gd name="connsiteY1857" fmla="*/ 5831115 h 6524625"/>
              <a:gd name="connsiteX1858" fmla="*/ 10898331 w 12192000"/>
              <a:gd name="connsiteY1858" fmla="*/ 5832416 h 6524625"/>
              <a:gd name="connsiteX1859" fmla="*/ 10899430 w 12192000"/>
              <a:gd name="connsiteY1859" fmla="*/ 5833954 h 6524625"/>
              <a:gd name="connsiteX1860" fmla="*/ 10900407 w 12192000"/>
              <a:gd name="connsiteY1860" fmla="*/ 5835609 h 6524625"/>
              <a:gd name="connsiteX1861" fmla="*/ 10901262 w 12192000"/>
              <a:gd name="connsiteY1861" fmla="*/ 5837147 h 6524625"/>
              <a:gd name="connsiteX1862" fmla="*/ 10902116 w 12192000"/>
              <a:gd name="connsiteY1862" fmla="*/ 5838803 h 6524625"/>
              <a:gd name="connsiteX1863" fmla="*/ 10902849 w 12192000"/>
              <a:gd name="connsiteY1863" fmla="*/ 5840459 h 6524625"/>
              <a:gd name="connsiteX1864" fmla="*/ 10903460 w 12192000"/>
              <a:gd name="connsiteY1864" fmla="*/ 5842233 h 6524625"/>
              <a:gd name="connsiteX1865" fmla="*/ 10904192 w 12192000"/>
              <a:gd name="connsiteY1865" fmla="*/ 5844007 h 6524625"/>
              <a:gd name="connsiteX1866" fmla="*/ 10904681 w 12192000"/>
              <a:gd name="connsiteY1866" fmla="*/ 5845782 h 6524625"/>
              <a:gd name="connsiteX1867" fmla="*/ 10905047 w 12192000"/>
              <a:gd name="connsiteY1867" fmla="*/ 5847792 h 6524625"/>
              <a:gd name="connsiteX1868" fmla="*/ 10814195 w 12192000"/>
              <a:gd name="connsiteY1868" fmla="*/ 5847792 h 6524625"/>
              <a:gd name="connsiteX1869" fmla="*/ 10814561 w 12192000"/>
              <a:gd name="connsiteY1869" fmla="*/ 5845663 h 6524625"/>
              <a:gd name="connsiteX1870" fmla="*/ 10815172 w 12192000"/>
              <a:gd name="connsiteY1870" fmla="*/ 5843771 h 6524625"/>
              <a:gd name="connsiteX1871" fmla="*/ 10815905 w 12192000"/>
              <a:gd name="connsiteY1871" fmla="*/ 5841760 h 6524625"/>
              <a:gd name="connsiteX1872" fmla="*/ 10816637 w 12192000"/>
              <a:gd name="connsiteY1872" fmla="*/ 5839986 h 6524625"/>
              <a:gd name="connsiteX1873" fmla="*/ 10817370 w 12192000"/>
              <a:gd name="connsiteY1873" fmla="*/ 5838212 h 6524625"/>
              <a:gd name="connsiteX1874" fmla="*/ 10818225 w 12192000"/>
              <a:gd name="connsiteY1874" fmla="*/ 5836556 h 6524625"/>
              <a:gd name="connsiteX1875" fmla="*/ 10819080 w 12192000"/>
              <a:gd name="connsiteY1875" fmla="*/ 5834900 h 6524625"/>
              <a:gd name="connsiteX1876" fmla="*/ 10820179 w 12192000"/>
              <a:gd name="connsiteY1876" fmla="*/ 5833244 h 6524625"/>
              <a:gd name="connsiteX1877" fmla="*/ 10821278 w 12192000"/>
              <a:gd name="connsiteY1877" fmla="*/ 5831825 h 6524625"/>
              <a:gd name="connsiteX1878" fmla="*/ 10822377 w 12192000"/>
              <a:gd name="connsiteY1878" fmla="*/ 5830405 h 6524625"/>
              <a:gd name="connsiteX1879" fmla="*/ 10823720 w 12192000"/>
              <a:gd name="connsiteY1879" fmla="*/ 5828868 h 6524625"/>
              <a:gd name="connsiteX1880" fmla="*/ 10824941 w 12192000"/>
              <a:gd name="connsiteY1880" fmla="*/ 5827567 h 6524625"/>
              <a:gd name="connsiteX1881" fmla="*/ 10826162 w 12192000"/>
              <a:gd name="connsiteY1881" fmla="*/ 5826384 h 6524625"/>
              <a:gd name="connsiteX1882" fmla="*/ 10827627 w 12192000"/>
              <a:gd name="connsiteY1882" fmla="*/ 5825083 h 6524625"/>
              <a:gd name="connsiteX1883" fmla="*/ 10829093 w 12192000"/>
              <a:gd name="connsiteY1883" fmla="*/ 5823900 h 6524625"/>
              <a:gd name="connsiteX1884" fmla="*/ 10830680 w 12192000"/>
              <a:gd name="connsiteY1884" fmla="*/ 5822835 h 6524625"/>
              <a:gd name="connsiteX1885" fmla="*/ 10832146 w 12192000"/>
              <a:gd name="connsiteY1885" fmla="*/ 5821771 h 6524625"/>
              <a:gd name="connsiteX1886" fmla="*/ 10833733 w 12192000"/>
              <a:gd name="connsiteY1886" fmla="*/ 5820825 h 6524625"/>
              <a:gd name="connsiteX1887" fmla="*/ 10835443 w 12192000"/>
              <a:gd name="connsiteY1887" fmla="*/ 5819997 h 6524625"/>
              <a:gd name="connsiteX1888" fmla="*/ 10837152 w 12192000"/>
              <a:gd name="connsiteY1888" fmla="*/ 5819169 h 6524625"/>
              <a:gd name="connsiteX1889" fmla="*/ 10838862 w 12192000"/>
              <a:gd name="connsiteY1889" fmla="*/ 5818459 h 6524625"/>
              <a:gd name="connsiteX1890" fmla="*/ 10840694 w 12192000"/>
              <a:gd name="connsiteY1890" fmla="*/ 5817631 h 6524625"/>
              <a:gd name="connsiteX1891" fmla="*/ 10842525 w 12192000"/>
              <a:gd name="connsiteY1891" fmla="*/ 5817040 h 6524625"/>
              <a:gd name="connsiteX1892" fmla="*/ 10844357 w 12192000"/>
              <a:gd name="connsiteY1892" fmla="*/ 5816448 h 6524625"/>
              <a:gd name="connsiteX1893" fmla="*/ 10846311 w 12192000"/>
              <a:gd name="connsiteY1893" fmla="*/ 5815975 h 6524625"/>
              <a:gd name="connsiteX1894" fmla="*/ 10848264 w 12192000"/>
              <a:gd name="connsiteY1894" fmla="*/ 5815502 h 6524625"/>
              <a:gd name="connsiteX1895" fmla="*/ 10850340 w 12192000"/>
              <a:gd name="connsiteY1895" fmla="*/ 5815147 h 6524625"/>
              <a:gd name="connsiteX1896" fmla="*/ 10852294 w 12192000"/>
              <a:gd name="connsiteY1896" fmla="*/ 5814911 h 6524625"/>
              <a:gd name="connsiteX1897" fmla="*/ 10854370 w 12192000"/>
              <a:gd name="connsiteY1897" fmla="*/ 5814674 h 6524625"/>
              <a:gd name="connsiteX1898" fmla="*/ 10856446 w 12192000"/>
              <a:gd name="connsiteY1898" fmla="*/ 5814438 h 6524625"/>
              <a:gd name="connsiteX1899" fmla="*/ 10858522 w 12192000"/>
              <a:gd name="connsiteY1899" fmla="*/ 5814438 h 6524625"/>
              <a:gd name="connsiteX1900" fmla="*/ 11154868 w 12192000"/>
              <a:gd name="connsiteY1900" fmla="*/ 5766502 h 6524625"/>
              <a:gd name="connsiteX1901" fmla="*/ 11152181 w 12192000"/>
              <a:gd name="connsiteY1901" fmla="*/ 5766625 h 6524625"/>
              <a:gd name="connsiteX1902" fmla="*/ 11149371 w 12192000"/>
              <a:gd name="connsiteY1902" fmla="*/ 5766749 h 6524625"/>
              <a:gd name="connsiteX1903" fmla="*/ 11146561 w 12192000"/>
              <a:gd name="connsiteY1903" fmla="*/ 5766995 h 6524625"/>
              <a:gd name="connsiteX1904" fmla="*/ 11143752 w 12192000"/>
              <a:gd name="connsiteY1904" fmla="*/ 5767364 h 6524625"/>
              <a:gd name="connsiteX1905" fmla="*/ 11141187 w 12192000"/>
              <a:gd name="connsiteY1905" fmla="*/ 5767734 h 6524625"/>
              <a:gd name="connsiteX1906" fmla="*/ 11138499 w 12192000"/>
              <a:gd name="connsiteY1906" fmla="*/ 5768226 h 6524625"/>
              <a:gd name="connsiteX1907" fmla="*/ 11135812 w 12192000"/>
              <a:gd name="connsiteY1907" fmla="*/ 5768719 h 6524625"/>
              <a:gd name="connsiteX1908" fmla="*/ 11133246 w 12192000"/>
              <a:gd name="connsiteY1908" fmla="*/ 5769335 h 6524625"/>
              <a:gd name="connsiteX1909" fmla="*/ 11130681 w 12192000"/>
              <a:gd name="connsiteY1909" fmla="*/ 5770197 h 6524625"/>
              <a:gd name="connsiteX1910" fmla="*/ 11128238 w 12192000"/>
              <a:gd name="connsiteY1910" fmla="*/ 5770935 h 6524625"/>
              <a:gd name="connsiteX1911" fmla="*/ 11125673 w 12192000"/>
              <a:gd name="connsiteY1911" fmla="*/ 5771798 h 6524625"/>
              <a:gd name="connsiteX1912" fmla="*/ 11123352 w 12192000"/>
              <a:gd name="connsiteY1912" fmla="*/ 5772660 h 6524625"/>
              <a:gd name="connsiteX1913" fmla="*/ 11120909 w 12192000"/>
              <a:gd name="connsiteY1913" fmla="*/ 5773645 h 6524625"/>
              <a:gd name="connsiteX1914" fmla="*/ 11118465 w 12192000"/>
              <a:gd name="connsiteY1914" fmla="*/ 5774753 h 6524625"/>
              <a:gd name="connsiteX1915" fmla="*/ 11116267 w 12192000"/>
              <a:gd name="connsiteY1915" fmla="*/ 5775984 h 6524625"/>
              <a:gd name="connsiteX1916" fmla="*/ 11113946 w 12192000"/>
              <a:gd name="connsiteY1916" fmla="*/ 5777093 h 6524625"/>
              <a:gd name="connsiteX1917" fmla="*/ 11111869 w 12192000"/>
              <a:gd name="connsiteY1917" fmla="*/ 5778571 h 6524625"/>
              <a:gd name="connsiteX1918" fmla="*/ 11109548 w 12192000"/>
              <a:gd name="connsiteY1918" fmla="*/ 5779925 h 6524625"/>
              <a:gd name="connsiteX1919" fmla="*/ 11107471 w 12192000"/>
              <a:gd name="connsiteY1919" fmla="*/ 5781403 h 6524625"/>
              <a:gd name="connsiteX1920" fmla="*/ 11105395 w 12192000"/>
              <a:gd name="connsiteY1920" fmla="*/ 5783004 h 6524625"/>
              <a:gd name="connsiteX1921" fmla="*/ 11103318 w 12192000"/>
              <a:gd name="connsiteY1921" fmla="*/ 5784605 h 6524625"/>
              <a:gd name="connsiteX1922" fmla="*/ 11101486 w 12192000"/>
              <a:gd name="connsiteY1922" fmla="*/ 5786329 h 6524625"/>
              <a:gd name="connsiteX1923" fmla="*/ 11099531 w 12192000"/>
              <a:gd name="connsiteY1923" fmla="*/ 5788176 h 6524625"/>
              <a:gd name="connsiteX1924" fmla="*/ 11097699 w 12192000"/>
              <a:gd name="connsiteY1924" fmla="*/ 5790023 h 6524625"/>
              <a:gd name="connsiteX1925" fmla="*/ 11095867 w 12192000"/>
              <a:gd name="connsiteY1925" fmla="*/ 5792117 h 6524625"/>
              <a:gd name="connsiteX1926" fmla="*/ 11094156 w 12192000"/>
              <a:gd name="connsiteY1926" fmla="*/ 5794210 h 6524625"/>
              <a:gd name="connsiteX1927" fmla="*/ 11092446 w 12192000"/>
              <a:gd name="connsiteY1927" fmla="*/ 5796427 h 6524625"/>
              <a:gd name="connsiteX1928" fmla="*/ 11090858 w 12192000"/>
              <a:gd name="connsiteY1928" fmla="*/ 5798520 h 6524625"/>
              <a:gd name="connsiteX1929" fmla="*/ 11089148 w 12192000"/>
              <a:gd name="connsiteY1929" fmla="*/ 5800983 h 6524625"/>
              <a:gd name="connsiteX1930" fmla="*/ 11087682 w 12192000"/>
              <a:gd name="connsiteY1930" fmla="*/ 5803323 h 6524625"/>
              <a:gd name="connsiteX1931" fmla="*/ 11086338 w 12192000"/>
              <a:gd name="connsiteY1931" fmla="*/ 5805909 h 6524625"/>
              <a:gd name="connsiteX1932" fmla="*/ 11085361 w 12192000"/>
              <a:gd name="connsiteY1932" fmla="*/ 5805909 h 6524625"/>
              <a:gd name="connsiteX1933" fmla="*/ 11085361 w 12192000"/>
              <a:gd name="connsiteY1933" fmla="*/ 5769211 h 6524625"/>
              <a:gd name="connsiteX1934" fmla="*/ 11007059 w 12192000"/>
              <a:gd name="connsiteY1934" fmla="*/ 5769211 h 6524625"/>
              <a:gd name="connsiteX1935" fmla="*/ 11007059 w 12192000"/>
              <a:gd name="connsiteY1935" fmla="*/ 5991243 h 6524625"/>
              <a:gd name="connsiteX1936" fmla="*/ 11085361 w 12192000"/>
              <a:gd name="connsiteY1936" fmla="*/ 5991243 h 6524625"/>
              <a:gd name="connsiteX1937" fmla="*/ 11085361 w 12192000"/>
              <a:gd name="connsiteY1937" fmla="*/ 5901593 h 6524625"/>
              <a:gd name="connsiteX1938" fmla="*/ 11085361 w 12192000"/>
              <a:gd name="connsiteY1938" fmla="*/ 5898022 h 6524625"/>
              <a:gd name="connsiteX1939" fmla="*/ 11085483 w 12192000"/>
              <a:gd name="connsiteY1939" fmla="*/ 5894697 h 6524625"/>
              <a:gd name="connsiteX1940" fmla="*/ 11085850 w 12192000"/>
              <a:gd name="connsiteY1940" fmla="*/ 5891249 h 6524625"/>
              <a:gd name="connsiteX1941" fmla="*/ 11085972 w 12192000"/>
              <a:gd name="connsiteY1941" fmla="*/ 5887924 h 6524625"/>
              <a:gd name="connsiteX1942" fmla="*/ 11086338 w 12192000"/>
              <a:gd name="connsiteY1942" fmla="*/ 5884599 h 6524625"/>
              <a:gd name="connsiteX1943" fmla="*/ 11086705 w 12192000"/>
              <a:gd name="connsiteY1943" fmla="*/ 5881520 h 6524625"/>
              <a:gd name="connsiteX1944" fmla="*/ 11087193 w 12192000"/>
              <a:gd name="connsiteY1944" fmla="*/ 5878319 h 6524625"/>
              <a:gd name="connsiteX1945" fmla="*/ 11087804 w 12192000"/>
              <a:gd name="connsiteY1945" fmla="*/ 5875240 h 6524625"/>
              <a:gd name="connsiteX1946" fmla="*/ 11088415 w 12192000"/>
              <a:gd name="connsiteY1946" fmla="*/ 5872284 h 6524625"/>
              <a:gd name="connsiteX1947" fmla="*/ 11089148 w 12192000"/>
              <a:gd name="connsiteY1947" fmla="*/ 5869452 h 6524625"/>
              <a:gd name="connsiteX1948" fmla="*/ 11090125 w 12192000"/>
              <a:gd name="connsiteY1948" fmla="*/ 5866620 h 6524625"/>
              <a:gd name="connsiteX1949" fmla="*/ 11091102 w 12192000"/>
              <a:gd name="connsiteY1949" fmla="*/ 5863787 h 6524625"/>
              <a:gd name="connsiteX1950" fmla="*/ 11092202 w 12192000"/>
              <a:gd name="connsiteY1950" fmla="*/ 5861324 h 6524625"/>
              <a:gd name="connsiteX1951" fmla="*/ 11093546 w 12192000"/>
              <a:gd name="connsiteY1951" fmla="*/ 5858738 h 6524625"/>
              <a:gd name="connsiteX1952" fmla="*/ 11094767 w 12192000"/>
              <a:gd name="connsiteY1952" fmla="*/ 5856399 h 6524625"/>
              <a:gd name="connsiteX1953" fmla="*/ 11096233 w 12192000"/>
              <a:gd name="connsiteY1953" fmla="*/ 5854059 h 6524625"/>
              <a:gd name="connsiteX1954" fmla="*/ 11097821 w 12192000"/>
              <a:gd name="connsiteY1954" fmla="*/ 5851965 h 6524625"/>
              <a:gd name="connsiteX1955" fmla="*/ 11099531 w 12192000"/>
              <a:gd name="connsiteY1955" fmla="*/ 5849749 h 6524625"/>
              <a:gd name="connsiteX1956" fmla="*/ 11101486 w 12192000"/>
              <a:gd name="connsiteY1956" fmla="*/ 5847902 h 6524625"/>
              <a:gd name="connsiteX1957" fmla="*/ 11103440 w 12192000"/>
              <a:gd name="connsiteY1957" fmla="*/ 5846054 h 6524625"/>
              <a:gd name="connsiteX1958" fmla="*/ 11105517 w 12192000"/>
              <a:gd name="connsiteY1958" fmla="*/ 5844330 h 6524625"/>
              <a:gd name="connsiteX1959" fmla="*/ 11107960 w 12192000"/>
              <a:gd name="connsiteY1959" fmla="*/ 5842853 h 6524625"/>
              <a:gd name="connsiteX1960" fmla="*/ 11110281 w 12192000"/>
              <a:gd name="connsiteY1960" fmla="*/ 5841252 h 6524625"/>
              <a:gd name="connsiteX1961" fmla="*/ 11112846 w 12192000"/>
              <a:gd name="connsiteY1961" fmla="*/ 5840020 h 6524625"/>
              <a:gd name="connsiteX1962" fmla="*/ 11115656 w 12192000"/>
              <a:gd name="connsiteY1962" fmla="*/ 5838912 h 6524625"/>
              <a:gd name="connsiteX1963" fmla="*/ 11118465 w 12192000"/>
              <a:gd name="connsiteY1963" fmla="*/ 5837804 h 6524625"/>
              <a:gd name="connsiteX1964" fmla="*/ 11121642 w 12192000"/>
              <a:gd name="connsiteY1964" fmla="*/ 5836942 h 6524625"/>
              <a:gd name="connsiteX1965" fmla="*/ 11124818 w 12192000"/>
              <a:gd name="connsiteY1965" fmla="*/ 5836203 h 6524625"/>
              <a:gd name="connsiteX1966" fmla="*/ 11128360 w 12192000"/>
              <a:gd name="connsiteY1966" fmla="*/ 5835587 h 6524625"/>
              <a:gd name="connsiteX1967" fmla="*/ 11131903 w 12192000"/>
              <a:gd name="connsiteY1967" fmla="*/ 5835218 h 6524625"/>
              <a:gd name="connsiteX1968" fmla="*/ 11135690 w 12192000"/>
              <a:gd name="connsiteY1968" fmla="*/ 5834971 h 6524625"/>
              <a:gd name="connsiteX1969" fmla="*/ 11139721 w 12192000"/>
              <a:gd name="connsiteY1969" fmla="*/ 5834971 h 6524625"/>
              <a:gd name="connsiteX1970" fmla="*/ 11144118 w 12192000"/>
              <a:gd name="connsiteY1970" fmla="*/ 5834971 h 6524625"/>
              <a:gd name="connsiteX1971" fmla="*/ 11148516 w 12192000"/>
              <a:gd name="connsiteY1971" fmla="*/ 5835218 h 6524625"/>
              <a:gd name="connsiteX1972" fmla="*/ 11152669 w 12192000"/>
              <a:gd name="connsiteY1972" fmla="*/ 5835587 h 6524625"/>
              <a:gd name="connsiteX1973" fmla="*/ 11156823 w 12192000"/>
              <a:gd name="connsiteY1973" fmla="*/ 5836326 h 6524625"/>
              <a:gd name="connsiteX1974" fmla="*/ 11158777 w 12192000"/>
              <a:gd name="connsiteY1974" fmla="*/ 5836695 h 6524625"/>
              <a:gd name="connsiteX1975" fmla="*/ 11160854 w 12192000"/>
              <a:gd name="connsiteY1975" fmla="*/ 5837188 h 6524625"/>
              <a:gd name="connsiteX1976" fmla="*/ 11162808 w 12192000"/>
              <a:gd name="connsiteY1976" fmla="*/ 5837804 h 6524625"/>
              <a:gd name="connsiteX1977" fmla="*/ 11164885 w 12192000"/>
              <a:gd name="connsiteY1977" fmla="*/ 5838543 h 6524625"/>
              <a:gd name="connsiteX1978" fmla="*/ 11166962 w 12192000"/>
              <a:gd name="connsiteY1978" fmla="*/ 5839281 h 6524625"/>
              <a:gd name="connsiteX1979" fmla="*/ 11168916 w 12192000"/>
              <a:gd name="connsiteY1979" fmla="*/ 5840143 h 6524625"/>
              <a:gd name="connsiteX1980" fmla="*/ 11170870 w 12192000"/>
              <a:gd name="connsiteY1980" fmla="*/ 5841129 h 6524625"/>
              <a:gd name="connsiteX1981" fmla="*/ 11172825 w 12192000"/>
              <a:gd name="connsiteY1981" fmla="*/ 5842237 h 6524625"/>
              <a:gd name="connsiteX1982" fmla="*/ 11172825 w 12192000"/>
              <a:gd name="connsiteY1982" fmla="*/ 5766502 h 6524625"/>
              <a:gd name="connsiteX1983" fmla="*/ 11157800 w 12192000"/>
              <a:gd name="connsiteY1983" fmla="*/ 5766502 h 6524625"/>
              <a:gd name="connsiteX1984" fmla="*/ 10857106 w 12192000"/>
              <a:gd name="connsiteY1984" fmla="*/ 5763314 h 6524625"/>
              <a:gd name="connsiteX1985" fmla="*/ 10850377 w 12192000"/>
              <a:gd name="connsiteY1985" fmla="*/ 5763436 h 6524625"/>
              <a:gd name="connsiteX1986" fmla="*/ 10843769 w 12192000"/>
              <a:gd name="connsiteY1986" fmla="*/ 5763803 h 6524625"/>
              <a:gd name="connsiteX1987" fmla="*/ 10837284 w 12192000"/>
              <a:gd name="connsiteY1987" fmla="*/ 5764413 h 6524625"/>
              <a:gd name="connsiteX1988" fmla="*/ 10831166 w 12192000"/>
              <a:gd name="connsiteY1988" fmla="*/ 5765268 h 6524625"/>
              <a:gd name="connsiteX1989" fmla="*/ 10824925 w 12192000"/>
              <a:gd name="connsiteY1989" fmla="*/ 5766367 h 6524625"/>
              <a:gd name="connsiteX1990" fmla="*/ 10818930 w 12192000"/>
              <a:gd name="connsiteY1990" fmla="*/ 5767832 h 6524625"/>
              <a:gd name="connsiteX1991" fmla="*/ 10813179 w 12192000"/>
              <a:gd name="connsiteY1991" fmla="*/ 5769419 h 6524625"/>
              <a:gd name="connsiteX1992" fmla="*/ 10807550 w 12192000"/>
              <a:gd name="connsiteY1992" fmla="*/ 5771373 h 6524625"/>
              <a:gd name="connsiteX1993" fmla="*/ 10802044 w 12192000"/>
              <a:gd name="connsiteY1993" fmla="*/ 5773326 h 6524625"/>
              <a:gd name="connsiteX1994" fmla="*/ 10796660 w 12192000"/>
              <a:gd name="connsiteY1994" fmla="*/ 5775768 h 6524625"/>
              <a:gd name="connsiteX1995" fmla="*/ 10791643 w 12192000"/>
              <a:gd name="connsiteY1995" fmla="*/ 5778210 h 6524625"/>
              <a:gd name="connsiteX1996" fmla="*/ 10786626 w 12192000"/>
              <a:gd name="connsiteY1996" fmla="*/ 5781018 h 6524625"/>
              <a:gd name="connsiteX1997" fmla="*/ 10781854 w 12192000"/>
              <a:gd name="connsiteY1997" fmla="*/ 5784071 h 6524625"/>
              <a:gd name="connsiteX1998" fmla="*/ 10777327 w 12192000"/>
              <a:gd name="connsiteY1998" fmla="*/ 5787245 h 6524625"/>
              <a:gd name="connsiteX1999" fmla="*/ 10772922 w 12192000"/>
              <a:gd name="connsiteY1999" fmla="*/ 5790786 h 6524625"/>
              <a:gd name="connsiteX2000" fmla="*/ 10768761 w 12192000"/>
              <a:gd name="connsiteY2000" fmla="*/ 5794449 h 6524625"/>
              <a:gd name="connsiteX2001" fmla="*/ 10764846 w 12192000"/>
              <a:gd name="connsiteY2001" fmla="*/ 5798356 h 6524625"/>
              <a:gd name="connsiteX2002" fmla="*/ 10761175 w 12192000"/>
              <a:gd name="connsiteY2002" fmla="*/ 5802508 h 6524625"/>
              <a:gd name="connsiteX2003" fmla="*/ 10757626 w 12192000"/>
              <a:gd name="connsiteY2003" fmla="*/ 5806781 h 6524625"/>
              <a:gd name="connsiteX2004" fmla="*/ 10754323 w 12192000"/>
              <a:gd name="connsiteY2004" fmla="*/ 5811299 h 6524625"/>
              <a:gd name="connsiteX2005" fmla="*/ 10751264 w 12192000"/>
              <a:gd name="connsiteY2005" fmla="*/ 5815938 h 6524625"/>
              <a:gd name="connsiteX2006" fmla="*/ 10748449 w 12192000"/>
              <a:gd name="connsiteY2006" fmla="*/ 5820822 h 6524625"/>
              <a:gd name="connsiteX2007" fmla="*/ 10745880 w 12192000"/>
              <a:gd name="connsiteY2007" fmla="*/ 5826072 h 6524625"/>
              <a:gd name="connsiteX2008" fmla="*/ 10743555 w 12192000"/>
              <a:gd name="connsiteY2008" fmla="*/ 5831323 h 6524625"/>
              <a:gd name="connsiteX2009" fmla="*/ 10741475 w 12192000"/>
              <a:gd name="connsiteY2009" fmla="*/ 5836817 h 6524625"/>
              <a:gd name="connsiteX2010" fmla="*/ 10739639 w 12192000"/>
              <a:gd name="connsiteY2010" fmla="*/ 5842433 h 6524625"/>
              <a:gd name="connsiteX2011" fmla="*/ 10738048 w 12192000"/>
              <a:gd name="connsiteY2011" fmla="*/ 5848416 h 6524625"/>
              <a:gd name="connsiteX2012" fmla="*/ 10736825 w 12192000"/>
              <a:gd name="connsiteY2012" fmla="*/ 5854399 h 6524625"/>
              <a:gd name="connsiteX2013" fmla="*/ 10735846 w 12192000"/>
              <a:gd name="connsiteY2013" fmla="*/ 5860748 h 6524625"/>
              <a:gd name="connsiteX2014" fmla="*/ 10735112 w 12192000"/>
              <a:gd name="connsiteY2014" fmla="*/ 5867097 h 6524625"/>
              <a:gd name="connsiteX2015" fmla="*/ 10734622 w 12192000"/>
              <a:gd name="connsiteY2015" fmla="*/ 5873690 h 6524625"/>
              <a:gd name="connsiteX2016" fmla="*/ 10734500 w 12192000"/>
              <a:gd name="connsiteY2016" fmla="*/ 5880406 h 6524625"/>
              <a:gd name="connsiteX2017" fmla="*/ 10734622 w 12192000"/>
              <a:gd name="connsiteY2017" fmla="*/ 5887487 h 6524625"/>
              <a:gd name="connsiteX2018" fmla="*/ 10735234 w 12192000"/>
              <a:gd name="connsiteY2018" fmla="*/ 5894325 h 6524625"/>
              <a:gd name="connsiteX2019" fmla="*/ 10735968 w 12192000"/>
              <a:gd name="connsiteY2019" fmla="*/ 5900918 h 6524625"/>
              <a:gd name="connsiteX2020" fmla="*/ 10737070 w 12192000"/>
              <a:gd name="connsiteY2020" fmla="*/ 5907389 h 6524625"/>
              <a:gd name="connsiteX2021" fmla="*/ 10738293 w 12192000"/>
              <a:gd name="connsiteY2021" fmla="*/ 5913494 h 6524625"/>
              <a:gd name="connsiteX2022" fmla="*/ 10740129 w 12192000"/>
              <a:gd name="connsiteY2022" fmla="*/ 5919355 h 6524625"/>
              <a:gd name="connsiteX2023" fmla="*/ 10741964 w 12192000"/>
              <a:gd name="connsiteY2023" fmla="*/ 5925215 h 6524625"/>
              <a:gd name="connsiteX2024" fmla="*/ 10744289 w 12192000"/>
              <a:gd name="connsiteY2024" fmla="*/ 5930832 h 6524625"/>
              <a:gd name="connsiteX2025" fmla="*/ 10746736 w 12192000"/>
              <a:gd name="connsiteY2025" fmla="*/ 5936082 h 6524625"/>
              <a:gd name="connsiteX2026" fmla="*/ 10749550 w 12192000"/>
              <a:gd name="connsiteY2026" fmla="*/ 5941332 h 6524625"/>
              <a:gd name="connsiteX2027" fmla="*/ 10752487 w 12192000"/>
              <a:gd name="connsiteY2027" fmla="*/ 5946216 h 6524625"/>
              <a:gd name="connsiteX2028" fmla="*/ 10755669 w 12192000"/>
              <a:gd name="connsiteY2028" fmla="*/ 5950856 h 6524625"/>
              <a:gd name="connsiteX2029" fmla="*/ 10759217 w 12192000"/>
              <a:gd name="connsiteY2029" fmla="*/ 5955374 h 6524625"/>
              <a:gd name="connsiteX2030" fmla="*/ 10762888 w 12192000"/>
              <a:gd name="connsiteY2030" fmla="*/ 5959647 h 6524625"/>
              <a:gd name="connsiteX2031" fmla="*/ 10766926 w 12192000"/>
              <a:gd name="connsiteY2031" fmla="*/ 5963676 h 6524625"/>
              <a:gd name="connsiteX2032" fmla="*/ 10771086 w 12192000"/>
              <a:gd name="connsiteY2032" fmla="*/ 5967461 h 6524625"/>
              <a:gd name="connsiteX2033" fmla="*/ 10775491 w 12192000"/>
              <a:gd name="connsiteY2033" fmla="*/ 5971124 h 6524625"/>
              <a:gd name="connsiteX2034" fmla="*/ 10780141 w 12192000"/>
              <a:gd name="connsiteY2034" fmla="*/ 5974421 h 6524625"/>
              <a:gd name="connsiteX2035" fmla="*/ 10784913 w 12192000"/>
              <a:gd name="connsiteY2035" fmla="*/ 5977595 h 6524625"/>
              <a:gd name="connsiteX2036" fmla="*/ 10789808 w 12192000"/>
              <a:gd name="connsiteY2036" fmla="*/ 5980526 h 6524625"/>
              <a:gd name="connsiteX2037" fmla="*/ 10795069 w 12192000"/>
              <a:gd name="connsiteY2037" fmla="*/ 5983334 h 6524625"/>
              <a:gd name="connsiteX2038" fmla="*/ 10800453 w 12192000"/>
              <a:gd name="connsiteY2038" fmla="*/ 5985654 h 6524625"/>
              <a:gd name="connsiteX2039" fmla="*/ 10805959 w 12192000"/>
              <a:gd name="connsiteY2039" fmla="*/ 5987974 h 6524625"/>
              <a:gd name="connsiteX2040" fmla="*/ 10811710 w 12192000"/>
              <a:gd name="connsiteY2040" fmla="*/ 5989927 h 6524625"/>
              <a:gd name="connsiteX2041" fmla="*/ 10817584 w 12192000"/>
              <a:gd name="connsiteY2041" fmla="*/ 5991636 h 6524625"/>
              <a:gd name="connsiteX2042" fmla="*/ 10823702 w 12192000"/>
              <a:gd name="connsiteY2042" fmla="*/ 5993224 h 6524625"/>
              <a:gd name="connsiteX2043" fmla="*/ 10829697 w 12192000"/>
              <a:gd name="connsiteY2043" fmla="*/ 5994567 h 6524625"/>
              <a:gd name="connsiteX2044" fmla="*/ 10836060 w 12192000"/>
              <a:gd name="connsiteY2044" fmla="*/ 5995544 h 6524625"/>
              <a:gd name="connsiteX2045" fmla="*/ 10842545 w 12192000"/>
              <a:gd name="connsiteY2045" fmla="*/ 5996520 h 6524625"/>
              <a:gd name="connsiteX2046" fmla="*/ 10849153 w 12192000"/>
              <a:gd name="connsiteY2046" fmla="*/ 5997131 h 6524625"/>
              <a:gd name="connsiteX2047" fmla="*/ 10855761 w 12192000"/>
              <a:gd name="connsiteY2047" fmla="*/ 5997497 h 6524625"/>
              <a:gd name="connsiteX2048" fmla="*/ 10862613 w 12192000"/>
              <a:gd name="connsiteY2048" fmla="*/ 5997619 h 6524625"/>
              <a:gd name="connsiteX2049" fmla="*/ 10867385 w 12192000"/>
              <a:gd name="connsiteY2049" fmla="*/ 5997497 h 6524625"/>
              <a:gd name="connsiteX2050" fmla="*/ 10872157 w 12192000"/>
              <a:gd name="connsiteY2050" fmla="*/ 5997253 h 6524625"/>
              <a:gd name="connsiteX2051" fmla="*/ 10876807 w 12192000"/>
              <a:gd name="connsiteY2051" fmla="*/ 5997009 h 6524625"/>
              <a:gd name="connsiteX2052" fmla="*/ 10881456 w 12192000"/>
              <a:gd name="connsiteY2052" fmla="*/ 5996520 h 6524625"/>
              <a:gd name="connsiteX2053" fmla="*/ 10886229 w 12192000"/>
              <a:gd name="connsiteY2053" fmla="*/ 5995788 h 6524625"/>
              <a:gd name="connsiteX2054" fmla="*/ 10890756 w 12192000"/>
              <a:gd name="connsiteY2054" fmla="*/ 5995055 h 6524625"/>
              <a:gd name="connsiteX2055" fmla="*/ 10895283 w 12192000"/>
              <a:gd name="connsiteY2055" fmla="*/ 5994078 h 6524625"/>
              <a:gd name="connsiteX2056" fmla="*/ 10899811 w 12192000"/>
              <a:gd name="connsiteY2056" fmla="*/ 5993102 h 6524625"/>
              <a:gd name="connsiteX2057" fmla="*/ 10904216 w 12192000"/>
              <a:gd name="connsiteY2057" fmla="*/ 5991881 h 6524625"/>
              <a:gd name="connsiteX2058" fmla="*/ 10908743 w 12192000"/>
              <a:gd name="connsiteY2058" fmla="*/ 5990538 h 6524625"/>
              <a:gd name="connsiteX2059" fmla="*/ 10913026 w 12192000"/>
              <a:gd name="connsiteY2059" fmla="*/ 5989072 h 6524625"/>
              <a:gd name="connsiteX2060" fmla="*/ 10917186 w 12192000"/>
              <a:gd name="connsiteY2060" fmla="*/ 5987363 h 6524625"/>
              <a:gd name="connsiteX2061" fmla="*/ 10921346 w 12192000"/>
              <a:gd name="connsiteY2061" fmla="*/ 5985532 h 6524625"/>
              <a:gd name="connsiteX2062" fmla="*/ 10925384 w 12192000"/>
              <a:gd name="connsiteY2062" fmla="*/ 5983700 h 6524625"/>
              <a:gd name="connsiteX2063" fmla="*/ 10929300 w 12192000"/>
              <a:gd name="connsiteY2063" fmla="*/ 5981502 h 6524625"/>
              <a:gd name="connsiteX2064" fmla="*/ 10933216 w 12192000"/>
              <a:gd name="connsiteY2064" fmla="*/ 5979305 h 6524625"/>
              <a:gd name="connsiteX2065" fmla="*/ 10936886 w 12192000"/>
              <a:gd name="connsiteY2065" fmla="*/ 5976863 h 6524625"/>
              <a:gd name="connsiteX2066" fmla="*/ 10940557 w 12192000"/>
              <a:gd name="connsiteY2066" fmla="*/ 5974299 h 6524625"/>
              <a:gd name="connsiteX2067" fmla="*/ 10944106 w 12192000"/>
              <a:gd name="connsiteY2067" fmla="*/ 5971612 h 6524625"/>
              <a:gd name="connsiteX2068" fmla="*/ 10947409 w 12192000"/>
              <a:gd name="connsiteY2068" fmla="*/ 5968804 h 6524625"/>
              <a:gd name="connsiteX2069" fmla="*/ 10950713 w 12192000"/>
              <a:gd name="connsiteY2069" fmla="*/ 5965752 h 6524625"/>
              <a:gd name="connsiteX2070" fmla="*/ 10953772 w 12192000"/>
              <a:gd name="connsiteY2070" fmla="*/ 5962577 h 6524625"/>
              <a:gd name="connsiteX2071" fmla="*/ 10956831 w 12192000"/>
              <a:gd name="connsiteY2071" fmla="*/ 5959281 h 6524625"/>
              <a:gd name="connsiteX2072" fmla="*/ 10959523 w 12192000"/>
              <a:gd name="connsiteY2072" fmla="*/ 5955740 h 6524625"/>
              <a:gd name="connsiteX2073" fmla="*/ 10962093 w 12192000"/>
              <a:gd name="connsiteY2073" fmla="*/ 5952077 h 6524625"/>
              <a:gd name="connsiteX2074" fmla="*/ 10964662 w 12192000"/>
              <a:gd name="connsiteY2074" fmla="*/ 5948292 h 6524625"/>
              <a:gd name="connsiteX2075" fmla="*/ 10966743 w 12192000"/>
              <a:gd name="connsiteY2075" fmla="*/ 5944263 h 6524625"/>
              <a:gd name="connsiteX2076" fmla="*/ 10968945 w 12192000"/>
              <a:gd name="connsiteY2076" fmla="*/ 5940233 h 6524625"/>
              <a:gd name="connsiteX2077" fmla="*/ 10970903 w 12192000"/>
              <a:gd name="connsiteY2077" fmla="*/ 5935838 h 6524625"/>
              <a:gd name="connsiteX2078" fmla="*/ 10972494 w 12192000"/>
              <a:gd name="connsiteY2078" fmla="*/ 5931442 h 6524625"/>
              <a:gd name="connsiteX2079" fmla="*/ 10973962 w 12192000"/>
              <a:gd name="connsiteY2079" fmla="*/ 5926803 h 6524625"/>
              <a:gd name="connsiteX2080" fmla="*/ 10975308 w 12192000"/>
              <a:gd name="connsiteY2080" fmla="*/ 5922041 h 6524625"/>
              <a:gd name="connsiteX2081" fmla="*/ 10899811 w 12192000"/>
              <a:gd name="connsiteY2081" fmla="*/ 5922041 h 6524625"/>
              <a:gd name="connsiteX2082" fmla="*/ 10898098 w 12192000"/>
              <a:gd name="connsiteY2082" fmla="*/ 5924727 h 6524625"/>
              <a:gd name="connsiteX2083" fmla="*/ 10896385 w 12192000"/>
              <a:gd name="connsiteY2083" fmla="*/ 5927047 h 6524625"/>
              <a:gd name="connsiteX2084" fmla="*/ 10894549 w 12192000"/>
              <a:gd name="connsiteY2084" fmla="*/ 5929367 h 6524625"/>
              <a:gd name="connsiteX2085" fmla="*/ 10892591 w 12192000"/>
              <a:gd name="connsiteY2085" fmla="*/ 5931320 h 6524625"/>
              <a:gd name="connsiteX2086" fmla="*/ 10890634 w 12192000"/>
              <a:gd name="connsiteY2086" fmla="*/ 5933152 h 6524625"/>
              <a:gd name="connsiteX2087" fmla="*/ 10888553 w 12192000"/>
              <a:gd name="connsiteY2087" fmla="*/ 5934739 h 6524625"/>
              <a:gd name="connsiteX2088" fmla="*/ 10886351 w 12192000"/>
              <a:gd name="connsiteY2088" fmla="*/ 5936204 h 6524625"/>
              <a:gd name="connsiteX2089" fmla="*/ 10884026 w 12192000"/>
              <a:gd name="connsiteY2089" fmla="*/ 5937547 h 6524625"/>
              <a:gd name="connsiteX2090" fmla="*/ 10881701 w 12192000"/>
              <a:gd name="connsiteY2090" fmla="*/ 5938646 h 6524625"/>
              <a:gd name="connsiteX2091" fmla="*/ 10879254 w 12192000"/>
              <a:gd name="connsiteY2091" fmla="*/ 5939623 h 6524625"/>
              <a:gd name="connsiteX2092" fmla="*/ 10876684 w 12192000"/>
              <a:gd name="connsiteY2092" fmla="*/ 5940356 h 6524625"/>
              <a:gd name="connsiteX2093" fmla="*/ 10873992 w 12192000"/>
              <a:gd name="connsiteY2093" fmla="*/ 5941088 h 6524625"/>
              <a:gd name="connsiteX2094" fmla="*/ 10871300 w 12192000"/>
              <a:gd name="connsiteY2094" fmla="*/ 5941577 h 6524625"/>
              <a:gd name="connsiteX2095" fmla="*/ 10868364 w 12192000"/>
              <a:gd name="connsiteY2095" fmla="*/ 5941943 h 6524625"/>
              <a:gd name="connsiteX2096" fmla="*/ 10865305 w 12192000"/>
              <a:gd name="connsiteY2096" fmla="*/ 5942065 h 6524625"/>
              <a:gd name="connsiteX2097" fmla="*/ 10862246 w 12192000"/>
              <a:gd name="connsiteY2097" fmla="*/ 5942187 h 6524625"/>
              <a:gd name="connsiteX2098" fmla="*/ 10859187 w 12192000"/>
              <a:gd name="connsiteY2098" fmla="*/ 5942187 h 6524625"/>
              <a:gd name="connsiteX2099" fmla="*/ 10856250 w 12192000"/>
              <a:gd name="connsiteY2099" fmla="*/ 5941943 h 6524625"/>
              <a:gd name="connsiteX2100" fmla="*/ 10853558 w 12192000"/>
              <a:gd name="connsiteY2100" fmla="*/ 5941699 h 6524625"/>
              <a:gd name="connsiteX2101" fmla="*/ 10850866 w 12192000"/>
              <a:gd name="connsiteY2101" fmla="*/ 5941454 h 6524625"/>
              <a:gd name="connsiteX2102" fmla="*/ 10848174 w 12192000"/>
              <a:gd name="connsiteY2102" fmla="*/ 5940966 h 6524625"/>
              <a:gd name="connsiteX2103" fmla="*/ 10845727 w 12192000"/>
              <a:gd name="connsiteY2103" fmla="*/ 5940356 h 6524625"/>
              <a:gd name="connsiteX2104" fmla="*/ 10843280 w 12192000"/>
              <a:gd name="connsiteY2104" fmla="*/ 5939745 h 6524625"/>
              <a:gd name="connsiteX2105" fmla="*/ 10840832 w 12192000"/>
              <a:gd name="connsiteY2105" fmla="*/ 5939012 h 6524625"/>
              <a:gd name="connsiteX2106" fmla="*/ 10838630 w 12192000"/>
              <a:gd name="connsiteY2106" fmla="*/ 5938158 h 6524625"/>
              <a:gd name="connsiteX2107" fmla="*/ 10836427 w 12192000"/>
              <a:gd name="connsiteY2107" fmla="*/ 5937303 h 6524625"/>
              <a:gd name="connsiteX2108" fmla="*/ 10834470 w 12192000"/>
              <a:gd name="connsiteY2108" fmla="*/ 5936082 h 6524625"/>
              <a:gd name="connsiteX2109" fmla="*/ 10832389 w 12192000"/>
              <a:gd name="connsiteY2109" fmla="*/ 5934983 h 6524625"/>
              <a:gd name="connsiteX2110" fmla="*/ 10830676 w 12192000"/>
              <a:gd name="connsiteY2110" fmla="*/ 5933884 h 6524625"/>
              <a:gd name="connsiteX2111" fmla="*/ 10828841 w 12192000"/>
              <a:gd name="connsiteY2111" fmla="*/ 5932541 h 6524625"/>
              <a:gd name="connsiteX2112" fmla="*/ 10827128 w 12192000"/>
              <a:gd name="connsiteY2112" fmla="*/ 5931076 h 6524625"/>
              <a:gd name="connsiteX2113" fmla="*/ 10825537 w 12192000"/>
              <a:gd name="connsiteY2113" fmla="*/ 5929611 h 6524625"/>
              <a:gd name="connsiteX2114" fmla="*/ 10824069 w 12192000"/>
              <a:gd name="connsiteY2114" fmla="*/ 5928146 h 6524625"/>
              <a:gd name="connsiteX2115" fmla="*/ 10822600 w 12192000"/>
              <a:gd name="connsiteY2115" fmla="*/ 5926314 h 6524625"/>
              <a:gd name="connsiteX2116" fmla="*/ 10821254 w 12192000"/>
              <a:gd name="connsiteY2116" fmla="*/ 5924605 h 6524625"/>
              <a:gd name="connsiteX2117" fmla="*/ 10820153 w 12192000"/>
              <a:gd name="connsiteY2117" fmla="*/ 5922651 h 6524625"/>
              <a:gd name="connsiteX2118" fmla="*/ 10818930 w 12192000"/>
              <a:gd name="connsiteY2118" fmla="*/ 5920820 h 6524625"/>
              <a:gd name="connsiteX2119" fmla="*/ 10817951 w 12192000"/>
              <a:gd name="connsiteY2119" fmla="*/ 5918622 h 6524625"/>
              <a:gd name="connsiteX2120" fmla="*/ 10816972 w 12192000"/>
              <a:gd name="connsiteY2120" fmla="*/ 5916547 h 6524625"/>
              <a:gd name="connsiteX2121" fmla="*/ 10816238 w 12192000"/>
              <a:gd name="connsiteY2121" fmla="*/ 5914227 h 6524625"/>
              <a:gd name="connsiteX2122" fmla="*/ 10815381 w 12192000"/>
              <a:gd name="connsiteY2122" fmla="*/ 5912029 h 6524625"/>
              <a:gd name="connsiteX2123" fmla="*/ 10814769 w 12192000"/>
              <a:gd name="connsiteY2123" fmla="*/ 5909587 h 6524625"/>
              <a:gd name="connsiteX2124" fmla="*/ 10814280 w 12192000"/>
              <a:gd name="connsiteY2124" fmla="*/ 5907145 h 6524625"/>
              <a:gd name="connsiteX2125" fmla="*/ 10813790 w 12192000"/>
              <a:gd name="connsiteY2125" fmla="*/ 5904581 h 6524625"/>
              <a:gd name="connsiteX2126" fmla="*/ 10813546 w 12192000"/>
              <a:gd name="connsiteY2126" fmla="*/ 5901773 h 6524625"/>
              <a:gd name="connsiteX2127" fmla="*/ 10813301 w 12192000"/>
              <a:gd name="connsiteY2127" fmla="*/ 5899087 h 6524625"/>
              <a:gd name="connsiteX2128" fmla="*/ 10813179 w 12192000"/>
              <a:gd name="connsiteY2128" fmla="*/ 5896278 h 6524625"/>
              <a:gd name="connsiteX2129" fmla="*/ 10813056 w 12192000"/>
              <a:gd name="connsiteY2129" fmla="*/ 5893226 h 6524625"/>
              <a:gd name="connsiteX2130" fmla="*/ 10978367 w 12192000"/>
              <a:gd name="connsiteY2130" fmla="*/ 5893226 h 6524625"/>
              <a:gd name="connsiteX2131" fmla="*/ 10978367 w 12192000"/>
              <a:gd name="connsiteY2131" fmla="*/ 5885167 h 6524625"/>
              <a:gd name="connsiteX2132" fmla="*/ 10978245 w 12192000"/>
              <a:gd name="connsiteY2132" fmla="*/ 5878330 h 6524625"/>
              <a:gd name="connsiteX2133" fmla="*/ 10977755 w 12192000"/>
              <a:gd name="connsiteY2133" fmla="*/ 5871493 h 6524625"/>
              <a:gd name="connsiteX2134" fmla="*/ 10977143 w 12192000"/>
              <a:gd name="connsiteY2134" fmla="*/ 5864899 h 6524625"/>
              <a:gd name="connsiteX2135" fmla="*/ 10976287 w 12192000"/>
              <a:gd name="connsiteY2135" fmla="*/ 5858428 h 6524625"/>
              <a:gd name="connsiteX2136" fmla="*/ 10975186 w 12192000"/>
              <a:gd name="connsiteY2136" fmla="*/ 5852323 h 6524625"/>
              <a:gd name="connsiteX2137" fmla="*/ 10973717 w 12192000"/>
              <a:gd name="connsiteY2137" fmla="*/ 5846096 h 6524625"/>
              <a:gd name="connsiteX2138" fmla="*/ 10972127 w 12192000"/>
              <a:gd name="connsiteY2138" fmla="*/ 5840358 h 6524625"/>
              <a:gd name="connsiteX2139" fmla="*/ 10970169 w 12192000"/>
              <a:gd name="connsiteY2139" fmla="*/ 5834619 h 6524625"/>
              <a:gd name="connsiteX2140" fmla="*/ 10968089 w 12192000"/>
              <a:gd name="connsiteY2140" fmla="*/ 5829003 h 6524625"/>
              <a:gd name="connsiteX2141" fmla="*/ 10965641 w 12192000"/>
              <a:gd name="connsiteY2141" fmla="*/ 5823752 h 6524625"/>
              <a:gd name="connsiteX2142" fmla="*/ 10962949 w 12192000"/>
              <a:gd name="connsiteY2142" fmla="*/ 5818746 h 6524625"/>
              <a:gd name="connsiteX2143" fmla="*/ 10960257 w 12192000"/>
              <a:gd name="connsiteY2143" fmla="*/ 5813740 h 6524625"/>
              <a:gd name="connsiteX2144" fmla="*/ 10957198 w 12192000"/>
              <a:gd name="connsiteY2144" fmla="*/ 5809101 h 6524625"/>
              <a:gd name="connsiteX2145" fmla="*/ 10953772 w 12192000"/>
              <a:gd name="connsiteY2145" fmla="*/ 5804461 h 6524625"/>
              <a:gd name="connsiteX2146" fmla="*/ 10950224 w 12192000"/>
              <a:gd name="connsiteY2146" fmla="*/ 5800188 h 6524625"/>
              <a:gd name="connsiteX2147" fmla="*/ 10946553 w 12192000"/>
              <a:gd name="connsiteY2147" fmla="*/ 5796158 h 6524625"/>
              <a:gd name="connsiteX2148" fmla="*/ 10942515 w 12192000"/>
              <a:gd name="connsiteY2148" fmla="*/ 5792373 h 6524625"/>
              <a:gd name="connsiteX2149" fmla="*/ 10938355 w 12192000"/>
              <a:gd name="connsiteY2149" fmla="*/ 5788711 h 6524625"/>
              <a:gd name="connsiteX2150" fmla="*/ 10933950 w 12192000"/>
              <a:gd name="connsiteY2150" fmla="*/ 5785292 h 6524625"/>
              <a:gd name="connsiteX2151" fmla="*/ 10929178 w 12192000"/>
              <a:gd name="connsiteY2151" fmla="*/ 5782117 h 6524625"/>
              <a:gd name="connsiteX2152" fmla="*/ 10924283 w 12192000"/>
              <a:gd name="connsiteY2152" fmla="*/ 5779065 h 6524625"/>
              <a:gd name="connsiteX2153" fmla="*/ 10919266 w 12192000"/>
              <a:gd name="connsiteY2153" fmla="*/ 5776501 h 6524625"/>
              <a:gd name="connsiteX2154" fmla="*/ 10913882 w 12192000"/>
              <a:gd name="connsiteY2154" fmla="*/ 5773937 h 6524625"/>
              <a:gd name="connsiteX2155" fmla="*/ 10908498 w 12192000"/>
              <a:gd name="connsiteY2155" fmla="*/ 5771861 h 6524625"/>
              <a:gd name="connsiteX2156" fmla="*/ 10902747 w 12192000"/>
              <a:gd name="connsiteY2156" fmla="*/ 5769785 h 6524625"/>
              <a:gd name="connsiteX2157" fmla="*/ 10896752 w 12192000"/>
              <a:gd name="connsiteY2157" fmla="*/ 5768076 h 6524625"/>
              <a:gd name="connsiteX2158" fmla="*/ 10890634 w 12192000"/>
              <a:gd name="connsiteY2158" fmla="*/ 5766733 h 6524625"/>
              <a:gd name="connsiteX2159" fmla="*/ 10884271 w 12192000"/>
              <a:gd name="connsiteY2159" fmla="*/ 5765390 h 6524625"/>
              <a:gd name="connsiteX2160" fmla="*/ 10877786 w 12192000"/>
              <a:gd name="connsiteY2160" fmla="*/ 5764413 h 6524625"/>
              <a:gd name="connsiteX2161" fmla="*/ 10871056 w 12192000"/>
              <a:gd name="connsiteY2161" fmla="*/ 5763803 h 6524625"/>
              <a:gd name="connsiteX2162" fmla="*/ 10864203 w 12192000"/>
              <a:gd name="connsiteY2162" fmla="*/ 5763436 h 6524625"/>
              <a:gd name="connsiteX2163" fmla="*/ 10519373 w 12192000"/>
              <a:gd name="connsiteY2163" fmla="*/ 5763314 h 6524625"/>
              <a:gd name="connsiteX2164" fmla="*/ 10514839 w 12192000"/>
              <a:gd name="connsiteY2164" fmla="*/ 5763436 h 6524625"/>
              <a:gd name="connsiteX2165" fmla="*/ 10510305 w 12192000"/>
              <a:gd name="connsiteY2165" fmla="*/ 5763680 h 6524625"/>
              <a:gd name="connsiteX2166" fmla="*/ 10505649 w 12192000"/>
              <a:gd name="connsiteY2166" fmla="*/ 5763924 h 6524625"/>
              <a:gd name="connsiteX2167" fmla="*/ 10501116 w 12192000"/>
              <a:gd name="connsiteY2167" fmla="*/ 5764413 h 6524625"/>
              <a:gd name="connsiteX2168" fmla="*/ 10496704 w 12192000"/>
              <a:gd name="connsiteY2168" fmla="*/ 5765023 h 6524625"/>
              <a:gd name="connsiteX2169" fmla="*/ 10492293 w 12192000"/>
              <a:gd name="connsiteY2169" fmla="*/ 5765877 h 6524625"/>
              <a:gd name="connsiteX2170" fmla="*/ 10487882 w 12192000"/>
              <a:gd name="connsiteY2170" fmla="*/ 5766853 h 6524625"/>
              <a:gd name="connsiteX2171" fmla="*/ 10483471 w 12192000"/>
              <a:gd name="connsiteY2171" fmla="*/ 5767952 h 6524625"/>
              <a:gd name="connsiteX2172" fmla="*/ 10479182 w 12192000"/>
              <a:gd name="connsiteY2172" fmla="*/ 5769172 h 6524625"/>
              <a:gd name="connsiteX2173" fmla="*/ 10475016 w 12192000"/>
              <a:gd name="connsiteY2173" fmla="*/ 5770514 h 6524625"/>
              <a:gd name="connsiteX2174" fmla="*/ 10470973 w 12192000"/>
              <a:gd name="connsiteY2174" fmla="*/ 5772101 h 6524625"/>
              <a:gd name="connsiteX2175" fmla="*/ 10466929 w 12192000"/>
              <a:gd name="connsiteY2175" fmla="*/ 5773687 h 6524625"/>
              <a:gd name="connsiteX2176" fmla="*/ 10463131 w 12192000"/>
              <a:gd name="connsiteY2176" fmla="*/ 5775640 h 6524625"/>
              <a:gd name="connsiteX2177" fmla="*/ 10459332 w 12192000"/>
              <a:gd name="connsiteY2177" fmla="*/ 5777592 h 6524625"/>
              <a:gd name="connsiteX2178" fmla="*/ 10455657 w 12192000"/>
              <a:gd name="connsiteY2178" fmla="*/ 5779789 h 6524625"/>
              <a:gd name="connsiteX2179" fmla="*/ 10452103 w 12192000"/>
              <a:gd name="connsiteY2179" fmla="*/ 5781985 h 6524625"/>
              <a:gd name="connsiteX2180" fmla="*/ 10448795 w 12192000"/>
              <a:gd name="connsiteY2180" fmla="*/ 5784548 h 6524625"/>
              <a:gd name="connsiteX2181" fmla="*/ 10445486 w 12192000"/>
              <a:gd name="connsiteY2181" fmla="*/ 5787111 h 6524625"/>
              <a:gd name="connsiteX2182" fmla="*/ 10442423 w 12192000"/>
              <a:gd name="connsiteY2182" fmla="*/ 5789918 h 6524625"/>
              <a:gd name="connsiteX2183" fmla="*/ 10439605 w 12192000"/>
              <a:gd name="connsiteY2183" fmla="*/ 5792968 h 6524625"/>
              <a:gd name="connsiteX2184" fmla="*/ 10436909 w 12192000"/>
              <a:gd name="connsiteY2184" fmla="*/ 5795897 h 6524625"/>
              <a:gd name="connsiteX2185" fmla="*/ 10434336 w 12192000"/>
              <a:gd name="connsiteY2185" fmla="*/ 5799192 h 6524625"/>
              <a:gd name="connsiteX2186" fmla="*/ 10432131 w 12192000"/>
              <a:gd name="connsiteY2186" fmla="*/ 5802731 h 6524625"/>
              <a:gd name="connsiteX2187" fmla="*/ 10429925 w 12192000"/>
              <a:gd name="connsiteY2187" fmla="*/ 5806270 h 6524625"/>
              <a:gd name="connsiteX2188" fmla="*/ 10427964 w 12192000"/>
              <a:gd name="connsiteY2188" fmla="*/ 5810053 h 6524625"/>
              <a:gd name="connsiteX2189" fmla="*/ 10426372 w 12192000"/>
              <a:gd name="connsiteY2189" fmla="*/ 5814080 h 6524625"/>
              <a:gd name="connsiteX2190" fmla="*/ 10424901 w 12192000"/>
              <a:gd name="connsiteY2190" fmla="*/ 5818229 h 6524625"/>
              <a:gd name="connsiteX2191" fmla="*/ 10423676 w 12192000"/>
              <a:gd name="connsiteY2191" fmla="*/ 5822501 h 6524625"/>
              <a:gd name="connsiteX2192" fmla="*/ 10422696 w 12192000"/>
              <a:gd name="connsiteY2192" fmla="*/ 5826894 h 6524625"/>
              <a:gd name="connsiteX2193" fmla="*/ 10422083 w 12192000"/>
              <a:gd name="connsiteY2193" fmla="*/ 5831531 h 6524625"/>
              <a:gd name="connsiteX2194" fmla="*/ 10421593 w 12192000"/>
              <a:gd name="connsiteY2194" fmla="*/ 5836290 h 6524625"/>
              <a:gd name="connsiteX2195" fmla="*/ 10421470 w 12192000"/>
              <a:gd name="connsiteY2195" fmla="*/ 5841172 h 6524625"/>
              <a:gd name="connsiteX2196" fmla="*/ 10421593 w 12192000"/>
              <a:gd name="connsiteY2196" fmla="*/ 5844833 h 6524625"/>
              <a:gd name="connsiteX2197" fmla="*/ 10421715 w 12192000"/>
              <a:gd name="connsiteY2197" fmla="*/ 5848372 h 6524625"/>
              <a:gd name="connsiteX2198" fmla="*/ 10422083 w 12192000"/>
              <a:gd name="connsiteY2198" fmla="*/ 5851667 h 6524625"/>
              <a:gd name="connsiteX2199" fmla="*/ 10422573 w 12192000"/>
              <a:gd name="connsiteY2199" fmla="*/ 5854718 h 6524625"/>
              <a:gd name="connsiteX2200" fmla="*/ 10423186 w 12192000"/>
              <a:gd name="connsiteY2200" fmla="*/ 5857768 h 6524625"/>
              <a:gd name="connsiteX2201" fmla="*/ 10423798 w 12192000"/>
              <a:gd name="connsiteY2201" fmla="*/ 5860697 h 6524625"/>
              <a:gd name="connsiteX2202" fmla="*/ 10424779 w 12192000"/>
              <a:gd name="connsiteY2202" fmla="*/ 5863382 h 6524625"/>
              <a:gd name="connsiteX2203" fmla="*/ 10425759 w 12192000"/>
              <a:gd name="connsiteY2203" fmla="*/ 5866067 h 6524625"/>
              <a:gd name="connsiteX2204" fmla="*/ 10426739 w 12192000"/>
              <a:gd name="connsiteY2204" fmla="*/ 5868385 h 6524625"/>
              <a:gd name="connsiteX2205" fmla="*/ 10427842 w 12192000"/>
              <a:gd name="connsiteY2205" fmla="*/ 5870826 h 6524625"/>
              <a:gd name="connsiteX2206" fmla="*/ 10429190 w 12192000"/>
              <a:gd name="connsiteY2206" fmla="*/ 5873145 h 6524625"/>
              <a:gd name="connsiteX2207" fmla="*/ 10430538 w 12192000"/>
              <a:gd name="connsiteY2207" fmla="*/ 5875219 h 6524625"/>
              <a:gd name="connsiteX2208" fmla="*/ 10432008 w 12192000"/>
              <a:gd name="connsiteY2208" fmla="*/ 5877294 h 6524625"/>
              <a:gd name="connsiteX2209" fmla="*/ 10433478 w 12192000"/>
              <a:gd name="connsiteY2209" fmla="*/ 5879124 h 6524625"/>
              <a:gd name="connsiteX2210" fmla="*/ 10435071 w 12192000"/>
              <a:gd name="connsiteY2210" fmla="*/ 5880833 h 6524625"/>
              <a:gd name="connsiteX2211" fmla="*/ 10436787 w 12192000"/>
              <a:gd name="connsiteY2211" fmla="*/ 5882541 h 6524625"/>
              <a:gd name="connsiteX2212" fmla="*/ 10438502 w 12192000"/>
              <a:gd name="connsiteY2212" fmla="*/ 5884128 h 6524625"/>
              <a:gd name="connsiteX2213" fmla="*/ 10440463 w 12192000"/>
              <a:gd name="connsiteY2213" fmla="*/ 5885714 h 6524625"/>
              <a:gd name="connsiteX2214" fmla="*/ 10442301 w 12192000"/>
              <a:gd name="connsiteY2214" fmla="*/ 5887057 h 6524625"/>
              <a:gd name="connsiteX2215" fmla="*/ 10444261 w 12192000"/>
              <a:gd name="connsiteY2215" fmla="*/ 5888399 h 6524625"/>
              <a:gd name="connsiteX2216" fmla="*/ 10446222 w 12192000"/>
              <a:gd name="connsiteY2216" fmla="*/ 5889497 h 6524625"/>
              <a:gd name="connsiteX2217" fmla="*/ 10448305 w 12192000"/>
              <a:gd name="connsiteY2217" fmla="*/ 5890840 h 6524625"/>
              <a:gd name="connsiteX2218" fmla="*/ 10450510 w 12192000"/>
              <a:gd name="connsiteY2218" fmla="*/ 5891816 h 6524625"/>
              <a:gd name="connsiteX2219" fmla="*/ 10452593 w 12192000"/>
              <a:gd name="connsiteY2219" fmla="*/ 5892914 h 6524625"/>
              <a:gd name="connsiteX2220" fmla="*/ 10454799 w 12192000"/>
              <a:gd name="connsiteY2220" fmla="*/ 5893768 h 6524625"/>
              <a:gd name="connsiteX2221" fmla="*/ 10456882 w 12192000"/>
              <a:gd name="connsiteY2221" fmla="*/ 5894745 h 6524625"/>
              <a:gd name="connsiteX2222" fmla="*/ 10459210 w 12192000"/>
              <a:gd name="connsiteY2222" fmla="*/ 5895599 h 6524625"/>
              <a:gd name="connsiteX2223" fmla="*/ 10461538 w 12192000"/>
              <a:gd name="connsiteY2223" fmla="*/ 5896331 h 6524625"/>
              <a:gd name="connsiteX2224" fmla="*/ 10466072 w 12192000"/>
              <a:gd name="connsiteY2224" fmla="*/ 5897796 h 6524625"/>
              <a:gd name="connsiteX2225" fmla="*/ 10470605 w 12192000"/>
              <a:gd name="connsiteY2225" fmla="*/ 5899138 h 6524625"/>
              <a:gd name="connsiteX2226" fmla="*/ 10479795 w 12192000"/>
              <a:gd name="connsiteY2226" fmla="*/ 5901212 h 6524625"/>
              <a:gd name="connsiteX2227" fmla="*/ 10488740 w 12192000"/>
              <a:gd name="connsiteY2227" fmla="*/ 5903287 h 6524625"/>
              <a:gd name="connsiteX2228" fmla="*/ 10493029 w 12192000"/>
              <a:gd name="connsiteY2228" fmla="*/ 5904141 h 6524625"/>
              <a:gd name="connsiteX2229" fmla="*/ 10497072 w 12192000"/>
              <a:gd name="connsiteY2229" fmla="*/ 5905118 h 6524625"/>
              <a:gd name="connsiteX2230" fmla="*/ 10500993 w 12192000"/>
              <a:gd name="connsiteY2230" fmla="*/ 5906094 h 6524625"/>
              <a:gd name="connsiteX2231" fmla="*/ 10504669 w 12192000"/>
              <a:gd name="connsiteY2231" fmla="*/ 5907314 h 6524625"/>
              <a:gd name="connsiteX2232" fmla="*/ 10506384 w 12192000"/>
              <a:gd name="connsiteY2232" fmla="*/ 5907924 h 6524625"/>
              <a:gd name="connsiteX2233" fmla="*/ 10507977 w 12192000"/>
              <a:gd name="connsiteY2233" fmla="*/ 5908535 h 6524625"/>
              <a:gd name="connsiteX2234" fmla="*/ 10509693 w 12192000"/>
              <a:gd name="connsiteY2234" fmla="*/ 5909267 h 6524625"/>
              <a:gd name="connsiteX2235" fmla="*/ 10511041 w 12192000"/>
              <a:gd name="connsiteY2235" fmla="*/ 5909877 h 6524625"/>
              <a:gd name="connsiteX2236" fmla="*/ 10512388 w 12192000"/>
              <a:gd name="connsiteY2236" fmla="*/ 5910731 h 6524625"/>
              <a:gd name="connsiteX2237" fmla="*/ 10513736 w 12192000"/>
              <a:gd name="connsiteY2237" fmla="*/ 5911585 h 6524625"/>
              <a:gd name="connsiteX2238" fmla="*/ 10514962 w 12192000"/>
              <a:gd name="connsiteY2238" fmla="*/ 5912440 h 6524625"/>
              <a:gd name="connsiteX2239" fmla="*/ 10515942 w 12192000"/>
              <a:gd name="connsiteY2239" fmla="*/ 5913416 h 6524625"/>
              <a:gd name="connsiteX2240" fmla="*/ 10517045 w 12192000"/>
              <a:gd name="connsiteY2240" fmla="*/ 5914392 h 6524625"/>
              <a:gd name="connsiteX2241" fmla="*/ 10517902 w 12192000"/>
              <a:gd name="connsiteY2241" fmla="*/ 5915490 h 6524625"/>
              <a:gd name="connsiteX2242" fmla="*/ 10518638 w 12192000"/>
              <a:gd name="connsiteY2242" fmla="*/ 5916589 h 6524625"/>
              <a:gd name="connsiteX2243" fmla="*/ 10519128 w 12192000"/>
              <a:gd name="connsiteY2243" fmla="*/ 5917809 h 6524625"/>
              <a:gd name="connsiteX2244" fmla="*/ 10519618 w 12192000"/>
              <a:gd name="connsiteY2244" fmla="*/ 5919029 h 6524625"/>
              <a:gd name="connsiteX2245" fmla="*/ 10519985 w 12192000"/>
              <a:gd name="connsiteY2245" fmla="*/ 5920494 h 6524625"/>
              <a:gd name="connsiteX2246" fmla="*/ 10520230 w 12192000"/>
              <a:gd name="connsiteY2246" fmla="*/ 5921958 h 6524625"/>
              <a:gd name="connsiteX2247" fmla="*/ 10520230 w 12192000"/>
              <a:gd name="connsiteY2247" fmla="*/ 5923423 h 6524625"/>
              <a:gd name="connsiteX2248" fmla="*/ 10520230 w 12192000"/>
              <a:gd name="connsiteY2248" fmla="*/ 5924643 h 6524625"/>
              <a:gd name="connsiteX2249" fmla="*/ 10520108 w 12192000"/>
              <a:gd name="connsiteY2249" fmla="*/ 5925741 h 6524625"/>
              <a:gd name="connsiteX2250" fmla="*/ 10519863 w 12192000"/>
              <a:gd name="connsiteY2250" fmla="*/ 5926718 h 6524625"/>
              <a:gd name="connsiteX2251" fmla="*/ 10519618 w 12192000"/>
              <a:gd name="connsiteY2251" fmla="*/ 5927572 h 6524625"/>
              <a:gd name="connsiteX2252" fmla="*/ 10519250 w 12192000"/>
              <a:gd name="connsiteY2252" fmla="*/ 5928670 h 6524625"/>
              <a:gd name="connsiteX2253" fmla="*/ 10518883 w 12192000"/>
              <a:gd name="connsiteY2253" fmla="*/ 5929524 h 6524625"/>
              <a:gd name="connsiteX2254" fmla="*/ 10518392 w 12192000"/>
              <a:gd name="connsiteY2254" fmla="*/ 5930379 h 6524625"/>
              <a:gd name="connsiteX2255" fmla="*/ 10517902 w 12192000"/>
              <a:gd name="connsiteY2255" fmla="*/ 5931111 h 6524625"/>
              <a:gd name="connsiteX2256" fmla="*/ 10516432 w 12192000"/>
              <a:gd name="connsiteY2256" fmla="*/ 5932819 h 6524625"/>
              <a:gd name="connsiteX2257" fmla="*/ 10515084 w 12192000"/>
              <a:gd name="connsiteY2257" fmla="*/ 5934040 h 6524625"/>
              <a:gd name="connsiteX2258" fmla="*/ 10513369 w 12192000"/>
              <a:gd name="connsiteY2258" fmla="*/ 5935260 h 6524625"/>
              <a:gd name="connsiteX2259" fmla="*/ 10511531 w 12192000"/>
              <a:gd name="connsiteY2259" fmla="*/ 5936358 h 6524625"/>
              <a:gd name="connsiteX2260" fmla="*/ 10509693 w 12192000"/>
              <a:gd name="connsiteY2260" fmla="*/ 5937335 h 6524625"/>
              <a:gd name="connsiteX2261" fmla="*/ 10507610 w 12192000"/>
              <a:gd name="connsiteY2261" fmla="*/ 5938067 h 6524625"/>
              <a:gd name="connsiteX2262" fmla="*/ 10505404 w 12192000"/>
              <a:gd name="connsiteY2262" fmla="*/ 5938799 h 6524625"/>
              <a:gd name="connsiteX2263" fmla="*/ 10503321 w 12192000"/>
              <a:gd name="connsiteY2263" fmla="*/ 5939287 h 6524625"/>
              <a:gd name="connsiteX2264" fmla="*/ 10501238 w 12192000"/>
              <a:gd name="connsiteY2264" fmla="*/ 5939653 h 6524625"/>
              <a:gd name="connsiteX2265" fmla="*/ 10499155 w 12192000"/>
              <a:gd name="connsiteY2265" fmla="*/ 5940019 h 6524625"/>
              <a:gd name="connsiteX2266" fmla="*/ 10497072 w 12192000"/>
              <a:gd name="connsiteY2266" fmla="*/ 5940141 h 6524625"/>
              <a:gd name="connsiteX2267" fmla="*/ 10495234 w 12192000"/>
              <a:gd name="connsiteY2267" fmla="*/ 5940141 h 6524625"/>
              <a:gd name="connsiteX2268" fmla="*/ 10491558 w 12192000"/>
              <a:gd name="connsiteY2268" fmla="*/ 5940019 h 6524625"/>
              <a:gd name="connsiteX2269" fmla="*/ 10487637 w 12192000"/>
              <a:gd name="connsiteY2269" fmla="*/ 5939653 h 6524625"/>
              <a:gd name="connsiteX2270" fmla="*/ 10483716 w 12192000"/>
              <a:gd name="connsiteY2270" fmla="*/ 5939165 h 6524625"/>
              <a:gd name="connsiteX2271" fmla="*/ 10479428 w 12192000"/>
              <a:gd name="connsiteY2271" fmla="*/ 5938311 h 6524625"/>
              <a:gd name="connsiteX2272" fmla="*/ 10475384 w 12192000"/>
              <a:gd name="connsiteY2272" fmla="*/ 5937335 h 6524625"/>
              <a:gd name="connsiteX2273" fmla="*/ 10471218 w 12192000"/>
              <a:gd name="connsiteY2273" fmla="*/ 5936114 h 6524625"/>
              <a:gd name="connsiteX2274" fmla="*/ 10467052 w 12192000"/>
              <a:gd name="connsiteY2274" fmla="*/ 5934772 h 6524625"/>
              <a:gd name="connsiteX2275" fmla="*/ 10462886 w 12192000"/>
              <a:gd name="connsiteY2275" fmla="*/ 5933307 h 6524625"/>
              <a:gd name="connsiteX2276" fmla="*/ 10458720 w 12192000"/>
              <a:gd name="connsiteY2276" fmla="*/ 5931599 h 6524625"/>
              <a:gd name="connsiteX2277" fmla="*/ 10454676 w 12192000"/>
              <a:gd name="connsiteY2277" fmla="*/ 5929890 h 6524625"/>
              <a:gd name="connsiteX2278" fmla="*/ 10450755 w 12192000"/>
              <a:gd name="connsiteY2278" fmla="*/ 5927938 h 6524625"/>
              <a:gd name="connsiteX2279" fmla="*/ 10446834 w 12192000"/>
              <a:gd name="connsiteY2279" fmla="*/ 5926107 h 6524625"/>
              <a:gd name="connsiteX2280" fmla="*/ 10443158 w 12192000"/>
              <a:gd name="connsiteY2280" fmla="*/ 5924155 h 6524625"/>
              <a:gd name="connsiteX2281" fmla="*/ 10439605 w 12192000"/>
              <a:gd name="connsiteY2281" fmla="*/ 5922080 h 6524625"/>
              <a:gd name="connsiteX2282" fmla="*/ 10436297 w 12192000"/>
              <a:gd name="connsiteY2282" fmla="*/ 5920128 h 6524625"/>
              <a:gd name="connsiteX2283" fmla="*/ 10433111 w 12192000"/>
              <a:gd name="connsiteY2283" fmla="*/ 5917931 h 6524625"/>
              <a:gd name="connsiteX2284" fmla="*/ 10404561 w 12192000"/>
              <a:gd name="connsiteY2284" fmla="*/ 5972358 h 6524625"/>
              <a:gd name="connsiteX2285" fmla="*/ 10409585 w 12192000"/>
              <a:gd name="connsiteY2285" fmla="*/ 5975409 h 6524625"/>
              <a:gd name="connsiteX2286" fmla="*/ 10414854 w 12192000"/>
              <a:gd name="connsiteY2286" fmla="*/ 5978094 h 6524625"/>
              <a:gd name="connsiteX2287" fmla="*/ 10420000 w 12192000"/>
              <a:gd name="connsiteY2287" fmla="*/ 5980779 h 6524625"/>
              <a:gd name="connsiteX2288" fmla="*/ 10425514 w 12192000"/>
              <a:gd name="connsiteY2288" fmla="*/ 5983097 h 6524625"/>
              <a:gd name="connsiteX2289" fmla="*/ 10430783 w 12192000"/>
              <a:gd name="connsiteY2289" fmla="*/ 5985416 h 6524625"/>
              <a:gd name="connsiteX2290" fmla="*/ 10436297 w 12192000"/>
              <a:gd name="connsiteY2290" fmla="*/ 5987368 h 6524625"/>
              <a:gd name="connsiteX2291" fmla="*/ 10441810 w 12192000"/>
              <a:gd name="connsiteY2291" fmla="*/ 5989443 h 6524625"/>
              <a:gd name="connsiteX2292" fmla="*/ 10447569 w 12192000"/>
              <a:gd name="connsiteY2292" fmla="*/ 5991029 h 6524625"/>
              <a:gd name="connsiteX2293" fmla="*/ 10453083 w 12192000"/>
              <a:gd name="connsiteY2293" fmla="*/ 5992616 h 6524625"/>
              <a:gd name="connsiteX2294" fmla="*/ 10458842 w 12192000"/>
              <a:gd name="connsiteY2294" fmla="*/ 5993958 h 6524625"/>
              <a:gd name="connsiteX2295" fmla="*/ 10464601 w 12192000"/>
              <a:gd name="connsiteY2295" fmla="*/ 5994934 h 6524625"/>
              <a:gd name="connsiteX2296" fmla="*/ 10470483 w 12192000"/>
              <a:gd name="connsiteY2296" fmla="*/ 5995911 h 6524625"/>
              <a:gd name="connsiteX2297" fmla="*/ 10476242 w 12192000"/>
              <a:gd name="connsiteY2297" fmla="*/ 5996765 h 6524625"/>
              <a:gd name="connsiteX2298" fmla="*/ 10482123 w 12192000"/>
              <a:gd name="connsiteY2298" fmla="*/ 5997253 h 6524625"/>
              <a:gd name="connsiteX2299" fmla="*/ 10488005 w 12192000"/>
              <a:gd name="connsiteY2299" fmla="*/ 5997497 h 6524625"/>
              <a:gd name="connsiteX2300" fmla="*/ 10493886 w 12192000"/>
              <a:gd name="connsiteY2300" fmla="*/ 5997619 h 6524625"/>
              <a:gd name="connsiteX2301" fmla="*/ 10498787 w 12192000"/>
              <a:gd name="connsiteY2301" fmla="*/ 5997497 h 6524625"/>
              <a:gd name="connsiteX2302" fmla="*/ 10503566 w 12192000"/>
              <a:gd name="connsiteY2302" fmla="*/ 5997375 h 6524625"/>
              <a:gd name="connsiteX2303" fmla="*/ 10508467 w 12192000"/>
              <a:gd name="connsiteY2303" fmla="*/ 5997009 h 6524625"/>
              <a:gd name="connsiteX2304" fmla="*/ 10513369 w 12192000"/>
              <a:gd name="connsiteY2304" fmla="*/ 5996521 h 6524625"/>
              <a:gd name="connsiteX2305" fmla="*/ 10518147 w 12192000"/>
              <a:gd name="connsiteY2305" fmla="*/ 5995789 h 6524625"/>
              <a:gd name="connsiteX2306" fmla="*/ 10522804 w 12192000"/>
              <a:gd name="connsiteY2306" fmla="*/ 5994934 h 6524625"/>
              <a:gd name="connsiteX2307" fmla="*/ 10527460 w 12192000"/>
              <a:gd name="connsiteY2307" fmla="*/ 5994080 h 6524625"/>
              <a:gd name="connsiteX2308" fmla="*/ 10532238 w 12192000"/>
              <a:gd name="connsiteY2308" fmla="*/ 5992982 h 6524625"/>
              <a:gd name="connsiteX2309" fmla="*/ 10536772 w 12192000"/>
              <a:gd name="connsiteY2309" fmla="*/ 5991640 h 6524625"/>
              <a:gd name="connsiteX2310" fmla="*/ 10541183 w 12192000"/>
              <a:gd name="connsiteY2310" fmla="*/ 5990297 h 6524625"/>
              <a:gd name="connsiteX2311" fmla="*/ 10545594 w 12192000"/>
              <a:gd name="connsiteY2311" fmla="*/ 5988711 h 6524625"/>
              <a:gd name="connsiteX2312" fmla="*/ 10549883 w 12192000"/>
              <a:gd name="connsiteY2312" fmla="*/ 5986880 h 6524625"/>
              <a:gd name="connsiteX2313" fmla="*/ 10554172 w 12192000"/>
              <a:gd name="connsiteY2313" fmla="*/ 5985050 h 6524625"/>
              <a:gd name="connsiteX2314" fmla="*/ 10558215 w 12192000"/>
              <a:gd name="connsiteY2314" fmla="*/ 5982975 h 6524625"/>
              <a:gd name="connsiteX2315" fmla="*/ 10562136 w 12192000"/>
              <a:gd name="connsiteY2315" fmla="*/ 5980779 h 6524625"/>
              <a:gd name="connsiteX2316" fmla="*/ 10565935 w 12192000"/>
              <a:gd name="connsiteY2316" fmla="*/ 5978338 h 6524625"/>
              <a:gd name="connsiteX2317" fmla="*/ 10569488 w 12192000"/>
              <a:gd name="connsiteY2317" fmla="*/ 5975897 h 6524625"/>
              <a:gd name="connsiteX2318" fmla="*/ 10573041 w 12192000"/>
              <a:gd name="connsiteY2318" fmla="*/ 5973090 h 6524625"/>
              <a:gd name="connsiteX2319" fmla="*/ 10576350 w 12192000"/>
              <a:gd name="connsiteY2319" fmla="*/ 5970162 h 6524625"/>
              <a:gd name="connsiteX2320" fmla="*/ 10579290 w 12192000"/>
              <a:gd name="connsiteY2320" fmla="*/ 5967111 h 6524625"/>
              <a:gd name="connsiteX2321" fmla="*/ 10582231 w 12192000"/>
              <a:gd name="connsiteY2321" fmla="*/ 5963816 h 6524625"/>
              <a:gd name="connsiteX2322" fmla="*/ 10585049 w 12192000"/>
              <a:gd name="connsiteY2322" fmla="*/ 5960399 h 6524625"/>
              <a:gd name="connsiteX2323" fmla="*/ 10587623 w 12192000"/>
              <a:gd name="connsiteY2323" fmla="*/ 5956738 h 6524625"/>
              <a:gd name="connsiteX2324" fmla="*/ 10589828 w 12192000"/>
              <a:gd name="connsiteY2324" fmla="*/ 5952955 h 6524625"/>
              <a:gd name="connsiteX2325" fmla="*/ 10591911 w 12192000"/>
              <a:gd name="connsiteY2325" fmla="*/ 5948928 h 6524625"/>
              <a:gd name="connsiteX2326" fmla="*/ 10593627 w 12192000"/>
              <a:gd name="connsiteY2326" fmla="*/ 5944779 h 6524625"/>
              <a:gd name="connsiteX2327" fmla="*/ 10595342 w 12192000"/>
              <a:gd name="connsiteY2327" fmla="*/ 5940385 h 6524625"/>
              <a:gd name="connsiteX2328" fmla="*/ 10596567 w 12192000"/>
              <a:gd name="connsiteY2328" fmla="*/ 5935870 h 6524625"/>
              <a:gd name="connsiteX2329" fmla="*/ 10597548 w 12192000"/>
              <a:gd name="connsiteY2329" fmla="*/ 5931111 h 6524625"/>
              <a:gd name="connsiteX2330" fmla="*/ 10598405 w 12192000"/>
              <a:gd name="connsiteY2330" fmla="*/ 5926229 h 6524625"/>
              <a:gd name="connsiteX2331" fmla="*/ 10598773 w 12192000"/>
              <a:gd name="connsiteY2331" fmla="*/ 5921104 h 6524625"/>
              <a:gd name="connsiteX2332" fmla="*/ 10599018 w 12192000"/>
              <a:gd name="connsiteY2332" fmla="*/ 5915857 h 6524625"/>
              <a:gd name="connsiteX2333" fmla="*/ 10598895 w 12192000"/>
              <a:gd name="connsiteY2333" fmla="*/ 5912074 h 6524625"/>
              <a:gd name="connsiteX2334" fmla="*/ 10598650 w 12192000"/>
              <a:gd name="connsiteY2334" fmla="*/ 5908412 h 6524625"/>
              <a:gd name="connsiteX2335" fmla="*/ 10598283 w 12192000"/>
              <a:gd name="connsiteY2335" fmla="*/ 5904996 h 6524625"/>
              <a:gd name="connsiteX2336" fmla="*/ 10597670 w 12192000"/>
              <a:gd name="connsiteY2336" fmla="*/ 5901579 h 6524625"/>
              <a:gd name="connsiteX2337" fmla="*/ 10596935 w 12192000"/>
              <a:gd name="connsiteY2337" fmla="*/ 5898406 h 6524625"/>
              <a:gd name="connsiteX2338" fmla="*/ 10596200 w 12192000"/>
              <a:gd name="connsiteY2338" fmla="*/ 5895355 h 6524625"/>
              <a:gd name="connsiteX2339" fmla="*/ 10595220 w 12192000"/>
              <a:gd name="connsiteY2339" fmla="*/ 5892304 h 6524625"/>
              <a:gd name="connsiteX2340" fmla="*/ 10593994 w 12192000"/>
              <a:gd name="connsiteY2340" fmla="*/ 5889375 h 6524625"/>
              <a:gd name="connsiteX2341" fmla="*/ 10592769 w 12192000"/>
              <a:gd name="connsiteY2341" fmla="*/ 5886813 h 6524625"/>
              <a:gd name="connsiteX2342" fmla="*/ 10591421 w 12192000"/>
              <a:gd name="connsiteY2342" fmla="*/ 5884128 h 6524625"/>
              <a:gd name="connsiteX2343" fmla="*/ 10589828 w 12192000"/>
              <a:gd name="connsiteY2343" fmla="*/ 5881687 h 6524625"/>
              <a:gd name="connsiteX2344" fmla="*/ 10588235 w 12192000"/>
              <a:gd name="connsiteY2344" fmla="*/ 5879246 h 6524625"/>
              <a:gd name="connsiteX2345" fmla="*/ 10586397 w 12192000"/>
              <a:gd name="connsiteY2345" fmla="*/ 5876928 h 6524625"/>
              <a:gd name="connsiteX2346" fmla="*/ 10584682 w 12192000"/>
              <a:gd name="connsiteY2346" fmla="*/ 5874731 h 6524625"/>
              <a:gd name="connsiteX2347" fmla="*/ 10582599 w 12192000"/>
              <a:gd name="connsiteY2347" fmla="*/ 5872657 h 6524625"/>
              <a:gd name="connsiteX2348" fmla="*/ 10580516 w 12192000"/>
              <a:gd name="connsiteY2348" fmla="*/ 5870704 h 6524625"/>
              <a:gd name="connsiteX2349" fmla="*/ 10578310 w 12192000"/>
              <a:gd name="connsiteY2349" fmla="*/ 5868874 h 6524625"/>
              <a:gd name="connsiteX2350" fmla="*/ 10576105 w 12192000"/>
              <a:gd name="connsiteY2350" fmla="*/ 5867043 h 6524625"/>
              <a:gd name="connsiteX2351" fmla="*/ 10573654 w 12192000"/>
              <a:gd name="connsiteY2351" fmla="*/ 5865335 h 6524625"/>
              <a:gd name="connsiteX2352" fmla="*/ 10571081 w 12192000"/>
              <a:gd name="connsiteY2352" fmla="*/ 5863748 h 6524625"/>
              <a:gd name="connsiteX2353" fmla="*/ 10568385 w 12192000"/>
              <a:gd name="connsiteY2353" fmla="*/ 5862284 h 6524625"/>
              <a:gd name="connsiteX2354" fmla="*/ 10565812 w 12192000"/>
              <a:gd name="connsiteY2354" fmla="*/ 5860819 h 6524625"/>
              <a:gd name="connsiteX2355" fmla="*/ 10562994 w 12192000"/>
              <a:gd name="connsiteY2355" fmla="*/ 5859477 h 6524625"/>
              <a:gd name="connsiteX2356" fmla="*/ 10560053 w 12192000"/>
              <a:gd name="connsiteY2356" fmla="*/ 5858135 h 6524625"/>
              <a:gd name="connsiteX2357" fmla="*/ 10557112 w 12192000"/>
              <a:gd name="connsiteY2357" fmla="*/ 5857036 h 6524625"/>
              <a:gd name="connsiteX2358" fmla="*/ 10554172 w 12192000"/>
              <a:gd name="connsiteY2358" fmla="*/ 5855938 h 6524625"/>
              <a:gd name="connsiteX2359" fmla="*/ 10551108 w 12192000"/>
              <a:gd name="connsiteY2359" fmla="*/ 5854840 h 6524625"/>
              <a:gd name="connsiteX2360" fmla="*/ 10547922 w 12192000"/>
              <a:gd name="connsiteY2360" fmla="*/ 5853863 h 6524625"/>
              <a:gd name="connsiteX2361" fmla="*/ 10544614 w 12192000"/>
              <a:gd name="connsiteY2361" fmla="*/ 5853009 h 6524625"/>
              <a:gd name="connsiteX2362" fmla="*/ 10541306 w 12192000"/>
              <a:gd name="connsiteY2362" fmla="*/ 5852155 h 6524625"/>
              <a:gd name="connsiteX2363" fmla="*/ 10537997 w 12192000"/>
              <a:gd name="connsiteY2363" fmla="*/ 5851301 h 6524625"/>
              <a:gd name="connsiteX2364" fmla="*/ 10534567 w 12192000"/>
              <a:gd name="connsiteY2364" fmla="*/ 5850568 h 6524625"/>
              <a:gd name="connsiteX2365" fmla="*/ 10529910 w 12192000"/>
              <a:gd name="connsiteY2365" fmla="*/ 5849836 h 6524625"/>
              <a:gd name="connsiteX2366" fmla="*/ 10524397 w 12192000"/>
              <a:gd name="connsiteY2366" fmla="*/ 5848860 h 6524625"/>
              <a:gd name="connsiteX2367" fmla="*/ 10521456 w 12192000"/>
              <a:gd name="connsiteY2367" fmla="*/ 5848250 h 6524625"/>
              <a:gd name="connsiteX2368" fmla="*/ 10518515 w 12192000"/>
              <a:gd name="connsiteY2368" fmla="*/ 5847640 h 6524625"/>
              <a:gd name="connsiteX2369" fmla="*/ 10515452 w 12192000"/>
              <a:gd name="connsiteY2369" fmla="*/ 5846785 h 6524625"/>
              <a:gd name="connsiteX2370" fmla="*/ 10512511 w 12192000"/>
              <a:gd name="connsiteY2370" fmla="*/ 5845809 h 6524625"/>
              <a:gd name="connsiteX2371" fmla="*/ 10509815 w 12192000"/>
              <a:gd name="connsiteY2371" fmla="*/ 5844833 h 6524625"/>
              <a:gd name="connsiteX2372" fmla="*/ 10507120 w 12192000"/>
              <a:gd name="connsiteY2372" fmla="*/ 5843613 h 6524625"/>
              <a:gd name="connsiteX2373" fmla="*/ 10506017 w 12192000"/>
              <a:gd name="connsiteY2373" fmla="*/ 5842758 h 6524625"/>
              <a:gd name="connsiteX2374" fmla="*/ 10504792 w 12192000"/>
              <a:gd name="connsiteY2374" fmla="*/ 5842026 h 6524625"/>
              <a:gd name="connsiteX2375" fmla="*/ 10503689 w 12192000"/>
              <a:gd name="connsiteY2375" fmla="*/ 5841294 h 6524625"/>
              <a:gd name="connsiteX2376" fmla="*/ 10502708 w 12192000"/>
              <a:gd name="connsiteY2376" fmla="*/ 5840440 h 6524625"/>
              <a:gd name="connsiteX2377" fmla="*/ 10501728 w 12192000"/>
              <a:gd name="connsiteY2377" fmla="*/ 5839585 h 6524625"/>
              <a:gd name="connsiteX2378" fmla="*/ 10500993 w 12192000"/>
              <a:gd name="connsiteY2378" fmla="*/ 5838487 h 6524625"/>
              <a:gd name="connsiteX2379" fmla="*/ 10500258 w 12192000"/>
              <a:gd name="connsiteY2379" fmla="*/ 5837511 h 6524625"/>
              <a:gd name="connsiteX2380" fmla="*/ 10499768 w 12192000"/>
              <a:gd name="connsiteY2380" fmla="*/ 5836413 h 6524625"/>
              <a:gd name="connsiteX2381" fmla="*/ 10499278 w 12192000"/>
              <a:gd name="connsiteY2381" fmla="*/ 5835314 h 6524625"/>
              <a:gd name="connsiteX2382" fmla="*/ 10498910 w 12192000"/>
              <a:gd name="connsiteY2382" fmla="*/ 5833972 h 6524625"/>
              <a:gd name="connsiteX2383" fmla="*/ 10498787 w 12192000"/>
              <a:gd name="connsiteY2383" fmla="*/ 5832752 h 6524625"/>
              <a:gd name="connsiteX2384" fmla="*/ 10498665 w 12192000"/>
              <a:gd name="connsiteY2384" fmla="*/ 5831409 h 6524625"/>
              <a:gd name="connsiteX2385" fmla="*/ 10498665 w 12192000"/>
              <a:gd name="connsiteY2385" fmla="*/ 5830433 h 6524625"/>
              <a:gd name="connsiteX2386" fmla="*/ 10498787 w 12192000"/>
              <a:gd name="connsiteY2386" fmla="*/ 5829335 h 6524625"/>
              <a:gd name="connsiteX2387" fmla="*/ 10499033 w 12192000"/>
              <a:gd name="connsiteY2387" fmla="*/ 5828480 h 6524625"/>
              <a:gd name="connsiteX2388" fmla="*/ 10499400 w 12192000"/>
              <a:gd name="connsiteY2388" fmla="*/ 5827504 h 6524625"/>
              <a:gd name="connsiteX2389" fmla="*/ 10499768 w 12192000"/>
              <a:gd name="connsiteY2389" fmla="*/ 5826772 h 6524625"/>
              <a:gd name="connsiteX2390" fmla="*/ 10500135 w 12192000"/>
              <a:gd name="connsiteY2390" fmla="*/ 5825796 h 6524625"/>
              <a:gd name="connsiteX2391" fmla="*/ 10500625 w 12192000"/>
              <a:gd name="connsiteY2391" fmla="*/ 5825063 h 6524625"/>
              <a:gd name="connsiteX2392" fmla="*/ 10501238 w 12192000"/>
              <a:gd name="connsiteY2392" fmla="*/ 5824331 h 6524625"/>
              <a:gd name="connsiteX2393" fmla="*/ 10502586 w 12192000"/>
              <a:gd name="connsiteY2393" fmla="*/ 5822989 h 6524625"/>
              <a:gd name="connsiteX2394" fmla="*/ 10504179 w 12192000"/>
              <a:gd name="connsiteY2394" fmla="*/ 5821646 h 6524625"/>
              <a:gd name="connsiteX2395" fmla="*/ 10505894 w 12192000"/>
              <a:gd name="connsiteY2395" fmla="*/ 5820670 h 6524625"/>
              <a:gd name="connsiteX2396" fmla="*/ 10507732 w 12192000"/>
              <a:gd name="connsiteY2396" fmla="*/ 5819694 h 6524625"/>
              <a:gd name="connsiteX2397" fmla="*/ 10509815 w 12192000"/>
              <a:gd name="connsiteY2397" fmla="*/ 5818962 h 6524625"/>
              <a:gd name="connsiteX2398" fmla="*/ 10511776 w 12192000"/>
              <a:gd name="connsiteY2398" fmla="*/ 5818229 h 6524625"/>
              <a:gd name="connsiteX2399" fmla="*/ 10513859 w 12192000"/>
              <a:gd name="connsiteY2399" fmla="*/ 5817741 h 6524625"/>
              <a:gd name="connsiteX2400" fmla="*/ 10515942 w 12192000"/>
              <a:gd name="connsiteY2400" fmla="*/ 5817131 h 6524625"/>
              <a:gd name="connsiteX2401" fmla="*/ 10518025 w 12192000"/>
              <a:gd name="connsiteY2401" fmla="*/ 5816765 h 6524625"/>
              <a:gd name="connsiteX2402" fmla="*/ 10519985 w 12192000"/>
              <a:gd name="connsiteY2402" fmla="*/ 5816521 h 6524625"/>
              <a:gd name="connsiteX2403" fmla="*/ 10521946 w 12192000"/>
              <a:gd name="connsiteY2403" fmla="*/ 5816399 h 6524625"/>
              <a:gd name="connsiteX2404" fmla="*/ 10523784 w 12192000"/>
              <a:gd name="connsiteY2404" fmla="*/ 5816399 h 6524625"/>
              <a:gd name="connsiteX2405" fmla="*/ 10526357 w 12192000"/>
              <a:gd name="connsiteY2405" fmla="*/ 5816399 h 6524625"/>
              <a:gd name="connsiteX2406" fmla="*/ 10528930 w 12192000"/>
              <a:gd name="connsiteY2406" fmla="*/ 5816521 h 6524625"/>
              <a:gd name="connsiteX2407" fmla="*/ 10531503 w 12192000"/>
              <a:gd name="connsiteY2407" fmla="*/ 5816765 h 6524625"/>
              <a:gd name="connsiteX2408" fmla="*/ 10534322 w 12192000"/>
              <a:gd name="connsiteY2408" fmla="*/ 5817131 h 6524625"/>
              <a:gd name="connsiteX2409" fmla="*/ 10537140 w 12192000"/>
              <a:gd name="connsiteY2409" fmla="*/ 5817497 h 6524625"/>
              <a:gd name="connsiteX2410" fmla="*/ 10539835 w 12192000"/>
              <a:gd name="connsiteY2410" fmla="*/ 5818107 h 6524625"/>
              <a:gd name="connsiteX2411" fmla="*/ 10542531 w 12192000"/>
              <a:gd name="connsiteY2411" fmla="*/ 5818718 h 6524625"/>
              <a:gd name="connsiteX2412" fmla="*/ 10545349 w 12192000"/>
              <a:gd name="connsiteY2412" fmla="*/ 5819328 h 6524625"/>
              <a:gd name="connsiteX2413" fmla="*/ 10548168 w 12192000"/>
              <a:gd name="connsiteY2413" fmla="*/ 5820060 h 6524625"/>
              <a:gd name="connsiteX2414" fmla="*/ 10550986 w 12192000"/>
              <a:gd name="connsiteY2414" fmla="*/ 5820914 h 6524625"/>
              <a:gd name="connsiteX2415" fmla="*/ 10553559 w 12192000"/>
              <a:gd name="connsiteY2415" fmla="*/ 5821890 h 6524625"/>
              <a:gd name="connsiteX2416" fmla="*/ 10556255 w 12192000"/>
              <a:gd name="connsiteY2416" fmla="*/ 5822745 h 6524625"/>
              <a:gd name="connsiteX2417" fmla="*/ 10558828 w 12192000"/>
              <a:gd name="connsiteY2417" fmla="*/ 5823721 h 6524625"/>
              <a:gd name="connsiteX2418" fmla="*/ 10561401 w 12192000"/>
              <a:gd name="connsiteY2418" fmla="*/ 5824819 h 6524625"/>
              <a:gd name="connsiteX2419" fmla="*/ 10563729 w 12192000"/>
              <a:gd name="connsiteY2419" fmla="*/ 5825918 h 6524625"/>
              <a:gd name="connsiteX2420" fmla="*/ 10566180 w 12192000"/>
              <a:gd name="connsiteY2420" fmla="*/ 5827138 h 6524625"/>
              <a:gd name="connsiteX2421" fmla="*/ 10592524 w 12192000"/>
              <a:gd name="connsiteY2421" fmla="*/ 5777470 h 6524625"/>
              <a:gd name="connsiteX2422" fmla="*/ 10588113 w 12192000"/>
              <a:gd name="connsiteY2422" fmla="*/ 5775640 h 6524625"/>
              <a:gd name="connsiteX2423" fmla="*/ 10583824 w 12192000"/>
              <a:gd name="connsiteY2423" fmla="*/ 5773809 h 6524625"/>
              <a:gd name="connsiteX2424" fmla="*/ 10579290 w 12192000"/>
              <a:gd name="connsiteY2424" fmla="*/ 5772345 h 6524625"/>
              <a:gd name="connsiteX2425" fmla="*/ 10574879 w 12192000"/>
              <a:gd name="connsiteY2425" fmla="*/ 5771002 h 6524625"/>
              <a:gd name="connsiteX2426" fmla="*/ 10570468 w 12192000"/>
              <a:gd name="connsiteY2426" fmla="*/ 5769538 h 6524625"/>
              <a:gd name="connsiteX2427" fmla="*/ 10565935 w 12192000"/>
              <a:gd name="connsiteY2427" fmla="*/ 5768440 h 6524625"/>
              <a:gd name="connsiteX2428" fmla="*/ 10561401 w 12192000"/>
              <a:gd name="connsiteY2428" fmla="*/ 5767463 h 6524625"/>
              <a:gd name="connsiteX2429" fmla="*/ 10556745 w 12192000"/>
              <a:gd name="connsiteY2429" fmla="*/ 5766487 h 6524625"/>
              <a:gd name="connsiteX2430" fmla="*/ 10552211 w 12192000"/>
              <a:gd name="connsiteY2430" fmla="*/ 5765755 h 6524625"/>
              <a:gd name="connsiteX2431" fmla="*/ 10547555 w 12192000"/>
              <a:gd name="connsiteY2431" fmla="*/ 5765023 h 6524625"/>
              <a:gd name="connsiteX2432" fmla="*/ 10542899 w 12192000"/>
              <a:gd name="connsiteY2432" fmla="*/ 5764535 h 6524625"/>
              <a:gd name="connsiteX2433" fmla="*/ 10538120 w 12192000"/>
              <a:gd name="connsiteY2433" fmla="*/ 5764046 h 6524625"/>
              <a:gd name="connsiteX2434" fmla="*/ 10533586 w 12192000"/>
              <a:gd name="connsiteY2434" fmla="*/ 5763802 h 6524625"/>
              <a:gd name="connsiteX2435" fmla="*/ 10528930 w 12192000"/>
              <a:gd name="connsiteY2435" fmla="*/ 5763558 h 6524625"/>
              <a:gd name="connsiteX2436" fmla="*/ 10524029 w 12192000"/>
              <a:gd name="connsiteY2436" fmla="*/ 5763436 h 6524625"/>
              <a:gd name="connsiteX2437" fmla="*/ 10231684 w 12192000"/>
              <a:gd name="connsiteY2437" fmla="*/ 5763314 h 6524625"/>
              <a:gd name="connsiteX2438" fmla="*/ 10225676 w 12192000"/>
              <a:gd name="connsiteY2438" fmla="*/ 5763436 h 6524625"/>
              <a:gd name="connsiteX2439" fmla="*/ 10219668 w 12192000"/>
              <a:gd name="connsiteY2439" fmla="*/ 5763803 h 6524625"/>
              <a:gd name="connsiteX2440" fmla="*/ 10213906 w 12192000"/>
              <a:gd name="connsiteY2440" fmla="*/ 5764657 h 6524625"/>
              <a:gd name="connsiteX2441" fmla="*/ 10208143 w 12192000"/>
              <a:gd name="connsiteY2441" fmla="*/ 5765634 h 6524625"/>
              <a:gd name="connsiteX2442" fmla="*/ 10202626 w 12192000"/>
              <a:gd name="connsiteY2442" fmla="*/ 5767099 h 6524625"/>
              <a:gd name="connsiteX2443" fmla="*/ 10197108 w 12192000"/>
              <a:gd name="connsiteY2443" fmla="*/ 5768687 h 6524625"/>
              <a:gd name="connsiteX2444" fmla="*/ 10191959 w 12192000"/>
              <a:gd name="connsiteY2444" fmla="*/ 5770518 h 6524625"/>
              <a:gd name="connsiteX2445" fmla="*/ 10186687 w 12192000"/>
              <a:gd name="connsiteY2445" fmla="*/ 5772716 h 6524625"/>
              <a:gd name="connsiteX2446" fmla="*/ 10181782 w 12192000"/>
              <a:gd name="connsiteY2446" fmla="*/ 5775158 h 6524625"/>
              <a:gd name="connsiteX2447" fmla="*/ 10177001 w 12192000"/>
              <a:gd name="connsiteY2447" fmla="*/ 5777722 h 6524625"/>
              <a:gd name="connsiteX2448" fmla="*/ 10172219 w 12192000"/>
              <a:gd name="connsiteY2448" fmla="*/ 5780652 h 6524625"/>
              <a:gd name="connsiteX2449" fmla="*/ 10167805 w 12192000"/>
              <a:gd name="connsiteY2449" fmla="*/ 5783705 h 6524625"/>
              <a:gd name="connsiteX2450" fmla="*/ 10163514 w 12192000"/>
              <a:gd name="connsiteY2450" fmla="*/ 5787001 h 6524625"/>
              <a:gd name="connsiteX2451" fmla="*/ 10159468 w 12192000"/>
              <a:gd name="connsiteY2451" fmla="*/ 5790542 h 6524625"/>
              <a:gd name="connsiteX2452" fmla="*/ 10155544 w 12192000"/>
              <a:gd name="connsiteY2452" fmla="*/ 5794205 h 6524625"/>
              <a:gd name="connsiteX2453" fmla="*/ 10151743 w 12192000"/>
              <a:gd name="connsiteY2453" fmla="*/ 5798112 h 6524625"/>
              <a:gd name="connsiteX2454" fmla="*/ 10148188 w 12192000"/>
              <a:gd name="connsiteY2454" fmla="*/ 5802263 h 6524625"/>
              <a:gd name="connsiteX2455" fmla="*/ 10144755 w 12192000"/>
              <a:gd name="connsiteY2455" fmla="*/ 5806537 h 6524625"/>
              <a:gd name="connsiteX2456" fmla="*/ 10141567 w 12192000"/>
              <a:gd name="connsiteY2456" fmla="*/ 5810932 h 6524625"/>
              <a:gd name="connsiteX2457" fmla="*/ 10138624 w 12192000"/>
              <a:gd name="connsiteY2457" fmla="*/ 5815572 h 6524625"/>
              <a:gd name="connsiteX2458" fmla="*/ 10135927 w 12192000"/>
              <a:gd name="connsiteY2458" fmla="*/ 5820334 h 6524625"/>
              <a:gd name="connsiteX2459" fmla="*/ 10133352 w 12192000"/>
              <a:gd name="connsiteY2459" fmla="*/ 5825218 h 6524625"/>
              <a:gd name="connsiteX2460" fmla="*/ 10131022 w 12192000"/>
              <a:gd name="connsiteY2460" fmla="*/ 5830346 h 6524625"/>
              <a:gd name="connsiteX2461" fmla="*/ 10129061 w 12192000"/>
              <a:gd name="connsiteY2461" fmla="*/ 5835474 h 6524625"/>
              <a:gd name="connsiteX2462" fmla="*/ 10127099 w 12192000"/>
              <a:gd name="connsiteY2462" fmla="*/ 5840724 h 6524625"/>
              <a:gd name="connsiteX2463" fmla="*/ 10125505 w 12192000"/>
              <a:gd name="connsiteY2463" fmla="*/ 5845974 h 6524625"/>
              <a:gd name="connsiteX2464" fmla="*/ 10124034 w 12192000"/>
              <a:gd name="connsiteY2464" fmla="*/ 5851591 h 6524625"/>
              <a:gd name="connsiteX2465" fmla="*/ 10122930 w 12192000"/>
              <a:gd name="connsiteY2465" fmla="*/ 5857085 h 6524625"/>
              <a:gd name="connsiteX2466" fmla="*/ 10122072 w 12192000"/>
              <a:gd name="connsiteY2466" fmla="*/ 5862824 h 6524625"/>
              <a:gd name="connsiteX2467" fmla="*/ 10121459 w 12192000"/>
              <a:gd name="connsiteY2467" fmla="*/ 5868562 h 6524625"/>
              <a:gd name="connsiteX2468" fmla="*/ 10120969 w 12192000"/>
              <a:gd name="connsiteY2468" fmla="*/ 5874301 h 6524625"/>
              <a:gd name="connsiteX2469" fmla="*/ 10120846 w 12192000"/>
              <a:gd name="connsiteY2469" fmla="*/ 5880162 h 6524625"/>
              <a:gd name="connsiteX2470" fmla="*/ 10120969 w 12192000"/>
              <a:gd name="connsiteY2470" fmla="*/ 5886144 h 6524625"/>
              <a:gd name="connsiteX2471" fmla="*/ 10121459 w 12192000"/>
              <a:gd name="connsiteY2471" fmla="*/ 5891883 h 6524625"/>
              <a:gd name="connsiteX2472" fmla="*/ 10122072 w 12192000"/>
              <a:gd name="connsiteY2472" fmla="*/ 5897621 h 6524625"/>
              <a:gd name="connsiteX2473" fmla="*/ 10122930 w 12192000"/>
              <a:gd name="connsiteY2473" fmla="*/ 5903360 h 6524625"/>
              <a:gd name="connsiteX2474" fmla="*/ 10124156 w 12192000"/>
              <a:gd name="connsiteY2474" fmla="*/ 5908854 h 6524625"/>
              <a:gd name="connsiteX2475" fmla="*/ 10125628 w 12192000"/>
              <a:gd name="connsiteY2475" fmla="*/ 5914349 h 6524625"/>
              <a:gd name="connsiteX2476" fmla="*/ 10127222 w 12192000"/>
              <a:gd name="connsiteY2476" fmla="*/ 5919843 h 6524625"/>
              <a:gd name="connsiteX2477" fmla="*/ 10129183 w 12192000"/>
              <a:gd name="connsiteY2477" fmla="*/ 5925093 h 6524625"/>
              <a:gd name="connsiteX2478" fmla="*/ 10131145 w 12192000"/>
              <a:gd name="connsiteY2478" fmla="*/ 5930221 h 6524625"/>
              <a:gd name="connsiteX2479" fmla="*/ 10133597 w 12192000"/>
              <a:gd name="connsiteY2479" fmla="*/ 5935227 h 6524625"/>
              <a:gd name="connsiteX2480" fmla="*/ 10136172 w 12192000"/>
              <a:gd name="connsiteY2480" fmla="*/ 5940111 h 6524625"/>
              <a:gd name="connsiteX2481" fmla="*/ 10138869 w 12192000"/>
              <a:gd name="connsiteY2481" fmla="*/ 5944873 h 6524625"/>
              <a:gd name="connsiteX2482" fmla="*/ 10141935 w 12192000"/>
              <a:gd name="connsiteY2482" fmla="*/ 5949635 h 6524625"/>
              <a:gd name="connsiteX2483" fmla="*/ 10145122 w 12192000"/>
              <a:gd name="connsiteY2483" fmla="*/ 5954030 h 6524625"/>
              <a:gd name="connsiteX2484" fmla="*/ 10148555 w 12192000"/>
              <a:gd name="connsiteY2484" fmla="*/ 5958426 h 6524625"/>
              <a:gd name="connsiteX2485" fmla="*/ 10152111 w 12192000"/>
              <a:gd name="connsiteY2485" fmla="*/ 5962455 h 6524625"/>
              <a:gd name="connsiteX2486" fmla="*/ 10155912 w 12192000"/>
              <a:gd name="connsiteY2486" fmla="*/ 5966484 h 6524625"/>
              <a:gd name="connsiteX2487" fmla="*/ 10159958 w 12192000"/>
              <a:gd name="connsiteY2487" fmla="*/ 5970025 h 6524625"/>
              <a:gd name="connsiteX2488" fmla="*/ 10164004 w 12192000"/>
              <a:gd name="connsiteY2488" fmla="*/ 5973688 h 6524625"/>
              <a:gd name="connsiteX2489" fmla="*/ 10168418 w 12192000"/>
              <a:gd name="connsiteY2489" fmla="*/ 5976985 h 6524625"/>
              <a:gd name="connsiteX2490" fmla="*/ 10172955 w 12192000"/>
              <a:gd name="connsiteY2490" fmla="*/ 5980159 h 6524625"/>
              <a:gd name="connsiteX2491" fmla="*/ 10177614 w 12192000"/>
              <a:gd name="connsiteY2491" fmla="*/ 5982968 h 6524625"/>
              <a:gd name="connsiteX2492" fmla="*/ 10182518 w 12192000"/>
              <a:gd name="connsiteY2492" fmla="*/ 5985654 h 6524625"/>
              <a:gd name="connsiteX2493" fmla="*/ 10187422 w 12192000"/>
              <a:gd name="connsiteY2493" fmla="*/ 5988096 h 6524625"/>
              <a:gd name="connsiteX2494" fmla="*/ 10192694 w 12192000"/>
              <a:gd name="connsiteY2494" fmla="*/ 5990171 h 6524625"/>
              <a:gd name="connsiteX2495" fmla="*/ 10197844 w 12192000"/>
              <a:gd name="connsiteY2495" fmla="*/ 5992125 h 6524625"/>
              <a:gd name="connsiteX2496" fmla="*/ 10203361 w 12192000"/>
              <a:gd name="connsiteY2496" fmla="*/ 5993712 h 6524625"/>
              <a:gd name="connsiteX2497" fmla="*/ 10209001 w 12192000"/>
              <a:gd name="connsiteY2497" fmla="*/ 5995055 h 6524625"/>
              <a:gd name="connsiteX2498" fmla="*/ 10214764 w 12192000"/>
              <a:gd name="connsiteY2498" fmla="*/ 5996276 h 6524625"/>
              <a:gd name="connsiteX2499" fmla="*/ 10220527 w 12192000"/>
              <a:gd name="connsiteY2499" fmla="*/ 5997009 h 6524625"/>
              <a:gd name="connsiteX2500" fmla="*/ 10226534 w 12192000"/>
              <a:gd name="connsiteY2500" fmla="*/ 5997375 h 6524625"/>
              <a:gd name="connsiteX2501" fmla="*/ 10232665 w 12192000"/>
              <a:gd name="connsiteY2501" fmla="*/ 5997619 h 6524625"/>
              <a:gd name="connsiteX2502" fmla="*/ 10237446 w 12192000"/>
              <a:gd name="connsiteY2502" fmla="*/ 5997497 h 6524625"/>
              <a:gd name="connsiteX2503" fmla="*/ 10242351 w 12192000"/>
              <a:gd name="connsiteY2503" fmla="*/ 5997131 h 6524625"/>
              <a:gd name="connsiteX2504" fmla="*/ 10247255 w 12192000"/>
              <a:gd name="connsiteY2504" fmla="*/ 5996520 h 6524625"/>
              <a:gd name="connsiteX2505" fmla="*/ 10252037 w 12192000"/>
              <a:gd name="connsiteY2505" fmla="*/ 5995666 h 6524625"/>
              <a:gd name="connsiteX2506" fmla="*/ 10254489 w 12192000"/>
              <a:gd name="connsiteY2506" fmla="*/ 5995177 h 6524625"/>
              <a:gd name="connsiteX2507" fmla="*/ 10256819 w 12192000"/>
              <a:gd name="connsiteY2507" fmla="*/ 5994567 h 6524625"/>
              <a:gd name="connsiteX2508" fmla="*/ 10259148 w 12192000"/>
              <a:gd name="connsiteY2508" fmla="*/ 5993956 h 6524625"/>
              <a:gd name="connsiteX2509" fmla="*/ 10261600 w 12192000"/>
              <a:gd name="connsiteY2509" fmla="*/ 5993346 h 6524625"/>
              <a:gd name="connsiteX2510" fmla="*/ 10263807 w 12192000"/>
              <a:gd name="connsiteY2510" fmla="*/ 5992613 h 6524625"/>
              <a:gd name="connsiteX2511" fmla="*/ 10266137 w 12192000"/>
              <a:gd name="connsiteY2511" fmla="*/ 5991636 h 6524625"/>
              <a:gd name="connsiteX2512" fmla="*/ 10268344 w 12192000"/>
              <a:gd name="connsiteY2512" fmla="*/ 5990782 h 6524625"/>
              <a:gd name="connsiteX2513" fmla="*/ 10270673 w 12192000"/>
              <a:gd name="connsiteY2513" fmla="*/ 5989927 h 6524625"/>
              <a:gd name="connsiteX2514" fmla="*/ 10272880 w 12192000"/>
              <a:gd name="connsiteY2514" fmla="*/ 5988950 h 6524625"/>
              <a:gd name="connsiteX2515" fmla="*/ 10274965 w 12192000"/>
              <a:gd name="connsiteY2515" fmla="*/ 5987851 h 6524625"/>
              <a:gd name="connsiteX2516" fmla="*/ 10277049 w 12192000"/>
              <a:gd name="connsiteY2516" fmla="*/ 5986630 h 6524625"/>
              <a:gd name="connsiteX2517" fmla="*/ 10279133 w 12192000"/>
              <a:gd name="connsiteY2517" fmla="*/ 5985409 h 6524625"/>
              <a:gd name="connsiteX2518" fmla="*/ 10281218 w 12192000"/>
              <a:gd name="connsiteY2518" fmla="*/ 5984189 h 6524625"/>
              <a:gd name="connsiteX2519" fmla="*/ 10283057 w 12192000"/>
              <a:gd name="connsiteY2519" fmla="*/ 5982845 h 6524625"/>
              <a:gd name="connsiteX2520" fmla="*/ 10285018 w 12192000"/>
              <a:gd name="connsiteY2520" fmla="*/ 5981502 h 6524625"/>
              <a:gd name="connsiteX2521" fmla="*/ 10286858 w 12192000"/>
              <a:gd name="connsiteY2521" fmla="*/ 5980037 h 6524625"/>
              <a:gd name="connsiteX2522" fmla="*/ 10288697 w 12192000"/>
              <a:gd name="connsiteY2522" fmla="*/ 5978450 h 6524625"/>
              <a:gd name="connsiteX2523" fmla="*/ 10290413 w 12192000"/>
              <a:gd name="connsiteY2523" fmla="*/ 5976863 h 6524625"/>
              <a:gd name="connsiteX2524" fmla="*/ 10292130 w 12192000"/>
              <a:gd name="connsiteY2524" fmla="*/ 5975275 h 6524625"/>
              <a:gd name="connsiteX2525" fmla="*/ 10293724 w 12192000"/>
              <a:gd name="connsiteY2525" fmla="*/ 5973444 h 6524625"/>
              <a:gd name="connsiteX2526" fmla="*/ 10295318 w 12192000"/>
              <a:gd name="connsiteY2526" fmla="*/ 5971612 h 6524625"/>
              <a:gd name="connsiteX2527" fmla="*/ 10296789 w 12192000"/>
              <a:gd name="connsiteY2527" fmla="*/ 5969659 h 6524625"/>
              <a:gd name="connsiteX2528" fmla="*/ 10298138 w 12192000"/>
              <a:gd name="connsiteY2528" fmla="*/ 5967827 h 6524625"/>
              <a:gd name="connsiteX2529" fmla="*/ 10299609 w 12192000"/>
              <a:gd name="connsiteY2529" fmla="*/ 5965752 h 6524625"/>
              <a:gd name="connsiteX2530" fmla="*/ 10300467 w 12192000"/>
              <a:gd name="connsiteY2530" fmla="*/ 5965752 h 6524625"/>
              <a:gd name="connsiteX2531" fmla="*/ 10300467 w 12192000"/>
              <a:gd name="connsiteY2531" fmla="*/ 5990415 h 6524625"/>
              <a:gd name="connsiteX2532" fmla="*/ 10379059 w 12192000"/>
              <a:gd name="connsiteY2532" fmla="*/ 5990415 h 6524625"/>
              <a:gd name="connsiteX2533" fmla="*/ 10379059 w 12192000"/>
              <a:gd name="connsiteY2533" fmla="*/ 5770274 h 6524625"/>
              <a:gd name="connsiteX2534" fmla="*/ 10300467 w 12192000"/>
              <a:gd name="connsiteY2534" fmla="*/ 5770274 h 6524625"/>
              <a:gd name="connsiteX2535" fmla="*/ 10300467 w 12192000"/>
              <a:gd name="connsiteY2535" fmla="*/ 5791885 h 6524625"/>
              <a:gd name="connsiteX2536" fmla="*/ 10298873 w 12192000"/>
              <a:gd name="connsiteY2536" fmla="*/ 5790176 h 6524625"/>
              <a:gd name="connsiteX2537" fmla="*/ 10297157 w 12192000"/>
              <a:gd name="connsiteY2537" fmla="*/ 5788588 h 6524625"/>
              <a:gd name="connsiteX2538" fmla="*/ 10295563 w 12192000"/>
              <a:gd name="connsiteY2538" fmla="*/ 5786757 h 6524625"/>
              <a:gd name="connsiteX2539" fmla="*/ 10293724 w 12192000"/>
              <a:gd name="connsiteY2539" fmla="*/ 5785292 h 6524625"/>
              <a:gd name="connsiteX2540" fmla="*/ 10292007 w 12192000"/>
              <a:gd name="connsiteY2540" fmla="*/ 5783705 h 6524625"/>
              <a:gd name="connsiteX2541" fmla="*/ 10290168 w 12192000"/>
              <a:gd name="connsiteY2541" fmla="*/ 5782117 h 6524625"/>
              <a:gd name="connsiteX2542" fmla="*/ 10288329 w 12192000"/>
              <a:gd name="connsiteY2542" fmla="*/ 5780774 h 6524625"/>
              <a:gd name="connsiteX2543" fmla="*/ 10286367 w 12192000"/>
              <a:gd name="connsiteY2543" fmla="*/ 5779431 h 6524625"/>
              <a:gd name="connsiteX2544" fmla="*/ 10284405 w 12192000"/>
              <a:gd name="connsiteY2544" fmla="*/ 5777966 h 6524625"/>
              <a:gd name="connsiteX2545" fmla="*/ 10282321 w 12192000"/>
              <a:gd name="connsiteY2545" fmla="*/ 5776745 h 6524625"/>
              <a:gd name="connsiteX2546" fmla="*/ 10280359 w 12192000"/>
              <a:gd name="connsiteY2546" fmla="*/ 5775646 h 6524625"/>
              <a:gd name="connsiteX2547" fmla="*/ 10278152 w 12192000"/>
              <a:gd name="connsiteY2547" fmla="*/ 5774425 h 6524625"/>
              <a:gd name="connsiteX2548" fmla="*/ 10275945 w 12192000"/>
              <a:gd name="connsiteY2548" fmla="*/ 5773326 h 6524625"/>
              <a:gd name="connsiteX2549" fmla="*/ 10273861 w 12192000"/>
              <a:gd name="connsiteY2549" fmla="*/ 5772349 h 6524625"/>
              <a:gd name="connsiteX2550" fmla="*/ 10271654 w 12192000"/>
              <a:gd name="connsiteY2550" fmla="*/ 5771373 h 6524625"/>
              <a:gd name="connsiteX2551" fmla="*/ 10269570 w 12192000"/>
              <a:gd name="connsiteY2551" fmla="*/ 5770274 h 6524625"/>
              <a:gd name="connsiteX2552" fmla="*/ 10264911 w 12192000"/>
              <a:gd name="connsiteY2552" fmla="*/ 5768687 h 6524625"/>
              <a:gd name="connsiteX2553" fmla="*/ 10260374 w 12192000"/>
              <a:gd name="connsiteY2553" fmla="*/ 5767221 h 6524625"/>
              <a:gd name="connsiteX2554" fmla="*/ 10255715 w 12192000"/>
              <a:gd name="connsiteY2554" fmla="*/ 5766000 h 6524625"/>
              <a:gd name="connsiteX2555" fmla="*/ 10250933 w 12192000"/>
              <a:gd name="connsiteY2555" fmla="*/ 5765024 h 6524625"/>
              <a:gd name="connsiteX2556" fmla="*/ 10246152 w 12192000"/>
              <a:gd name="connsiteY2556" fmla="*/ 5764291 h 6524625"/>
              <a:gd name="connsiteX2557" fmla="*/ 10241370 w 12192000"/>
              <a:gd name="connsiteY2557" fmla="*/ 5763681 h 6524625"/>
              <a:gd name="connsiteX2558" fmla="*/ 10236588 w 12192000"/>
              <a:gd name="connsiteY2558" fmla="*/ 5763314 h 6524625"/>
              <a:gd name="connsiteX2559" fmla="*/ 9937546 w 12192000"/>
              <a:gd name="connsiteY2559" fmla="*/ 5729842 h 6524625"/>
              <a:gd name="connsiteX2560" fmla="*/ 9943408 w 12192000"/>
              <a:gd name="connsiteY2560" fmla="*/ 5729842 h 6524625"/>
              <a:gd name="connsiteX2561" fmla="*/ 9947595 w 12192000"/>
              <a:gd name="connsiteY2561" fmla="*/ 5729965 h 6524625"/>
              <a:gd name="connsiteX2562" fmla="*/ 9952021 w 12192000"/>
              <a:gd name="connsiteY2562" fmla="*/ 5729965 h 6524625"/>
              <a:gd name="connsiteX2563" fmla="*/ 9956208 w 12192000"/>
              <a:gd name="connsiteY2563" fmla="*/ 5730211 h 6524625"/>
              <a:gd name="connsiteX2564" fmla="*/ 9960396 w 12192000"/>
              <a:gd name="connsiteY2564" fmla="*/ 5730581 h 6524625"/>
              <a:gd name="connsiteX2565" fmla="*/ 9964583 w 12192000"/>
              <a:gd name="connsiteY2565" fmla="*/ 5731319 h 6524625"/>
              <a:gd name="connsiteX2566" fmla="*/ 9968531 w 12192000"/>
              <a:gd name="connsiteY2566" fmla="*/ 5732058 h 6524625"/>
              <a:gd name="connsiteX2567" fmla="*/ 9970445 w 12192000"/>
              <a:gd name="connsiteY2567" fmla="*/ 5732550 h 6524625"/>
              <a:gd name="connsiteX2568" fmla="*/ 9972359 w 12192000"/>
              <a:gd name="connsiteY2568" fmla="*/ 5733165 h 6524625"/>
              <a:gd name="connsiteX2569" fmla="*/ 9974273 w 12192000"/>
              <a:gd name="connsiteY2569" fmla="*/ 5733781 h 6524625"/>
              <a:gd name="connsiteX2570" fmla="*/ 9975948 w 12192000"/>
              <a:gd name="connsiteY2570" fmla="*/ 5734519 h 6524625"/>
              <a:gd name="connsiteX2571" fmla="*/ 9977742 w 12192000"/>
              <a:gd name="connsiteY2571" fmla="*/ 5735258 h 6524625"/>
              <a:gd name="connsiteX2572" fmla="*/ 9979297 w 12192000"/>
              <a:gd name="connsiteY2572" fmla="*/ 5736366 h 6524625"/>
              <a:gd name="connsiteX2573" fmla="*/ 9980853 w 12192000"/>
              <a:gd name="connsiteY2573" fmla="*/ 5737350 h 6524625"/>
              <a:gd name="connsiteX2574" fmla="*/ 9982288 w 12192000"/>
              <a:gd name="connsiteY2574" fmla="*/ 5738458 h 6524625"/>
              <a:gd name="connsiteX2575" fmla="*/ 9983604 w 12192000"/>
              <a:gd name="connsiteY2575" fmla="*/ 5739566 h 6524625"/>
              <a:gd name="connsiteX2576" fmla="*/ 9985040 w 12192000"/>
              <a:gd name="connsiteY2576" fmla="*/ 5741043 h 6524625"/>
              <a:gd name="connsiteX2577" fmla="*/ 9986236 w 12192000"/>
              <a:gd name="connsiteY2577" fmla="*/ 5742520 h 6524625"/>
              <a:gd name="connsiteX2578" fmla="*/ 9987193 w 12192000"/>
              <a:gd name="connsiteY2578" fmla="*/ 5743997 h 6524625"/>
              <a:gd name="connsiteX2579" fmla="*/ 9988270 w 12192000"/>
              <a:gd name="connsiteY2579" fmla="*/ 5745843 h 6524625"/>
              <a:gd name="connsiteX2580" fmla="*/ 9989107 w 12192000"/>
              <a:gd name="connsiteY2580" fmla="*/ 5747566 h 6524625"/>
              <a:gd name="connsiteX2581" fmla="*/ 9989825 w 12192000"/>
              <a:gd name="connsiteY2581" fmla="*/ 5749658 h 6524625"/>
              <a:gd name="connsiteX2582" fmla="*/ 9990543 w 12192000"/>
              <a:gd name="connsiteY2582" fmla="*/ 5751751 h 6524625"/>
              <a:gd name="connsiteX2583" fmla="*/ 9991141 w 12192000"/>
              <a:gd name="connsiteY2583" fmla="*/ 5754089 h 6524625"/>
              <a:gd name="connsiteX2584" fmla="*/ 9991380 w 12192000"/>
              <a:gd name="connsiteY2584" fmla="*/ 5756428 h 6524625"/>
              <a:gd name="connsiteX2585" fmla="*/ 9991619 w 12192000"/>
              <a:gd name="connsiteY2585" fmla="*/ 5759012 h 6524625"/>
              <a:gd name="connsiteX2586" fmla="*/ 9991739 w 12192000"/>
              <a:gd name="connsiteY2586" fmla="*/ 5761843 h 6524625"/>
              <a:gd name="connsiteX2587" fmla="*/ 9991619 w 12192000"/>
              <a:gd name="connsiteY2587" fmla="*/ 5764305 h 6524625"/>
              <a:gd name="connsiteX2588" fmla="*/ 9991500 w 12192000"/>
              <a:gd name="connsiteY2588" fmla="*/ 5766767 h 6524625"/>
              <a:gd name="connsiteX2589" fmla="*/ 9991141 w 12192000"/>
              <a:gd name="connsiteY2589" fmla="*/ 5768982 h 6524625"/>
              <a:gd name="connsiteX2590" fmla="*/ 9990662 w 12192000"/>
              <a:gd name="connsiteY2590" fmla="*/ 5771197 h 6524625"/>
              <a:gd name="connsiteX2591" fmla="*/ 9990064 w 12192000"/>
              <a:gd name="connsiteY2591" fmla="*/ 5773167 h 6524625"/>
              <a:gd name="connsiteX2592" fmla="*/ 9989466 w 12192000"/>
              <a:gd name="connsiteY2592" fmla="*/ 5775136 h 6524625"/>
              <a:gd name="connsiteX2593" fmla="*/ 9988629 w 12192000"/>
              <a:gd name="connsiteY2593" fmla="*/ 5776859 h 6524625"/>
              <a:gd name="connsiteX2594" fmla="*/ 9987791 w 12192000"/>
              <a:gd name="connsiteY2594" fmla="*/ 5778582 h 6524625"/>
              <a:gd name="connsiteX2595" fmla="*/ 9986714 w 12192000"/>
              <a:gd name="connsiteY2595" fmla="*/ 5780059 h 6524625"/>
              <a:gd name="connsiteX2596" fmla="*/ 9985757 w 12192000"/>
              <a:gd name="connsiteY2596" fmla="*/ 5781536 h 6524625"/>
              <a:gd name="connsiteX2597" fmla="*/ 9984561 w 12192000"/>
              <a:gd name="connsiteY2597" fmla="*/ 5782890 h 6524625"/>
              <a:gd name="connsiteX2598" fmla="*/ 9983245 w 12192000"/>
              <a:gd name="connsiteY2598" fmla="*/ 5784121 h 6524625"/>
              <a:gd name="connsiteX2599" fmla="*/ 9981929 w 12192000"/>
              <a:gd name="connsiteY2599" fmla="*/ 5785229 h 6524625"/>
              <a:gd name="connsiteX2600" fmla="*/ 9980613 w 12192000"/>
              <a:gd name="connsiteY2600" fmla="*/ 5786213 h 6524625"/>
              <a:gd name="connsiteX2601" fmla="*/ 9979058 w 12192000"/>
              <a:gd name="connsiteY2601" fmla="*/ 5787321 h 6524625"/>
              <a:gd name="connsiteX2602" fmla="*/ 9977503 w 12192000"/>
              <a:gd name="connsiteY2602" fmla="*/ 5788183 h 6524625"/>
              <a:gd name="connsiteX2603" fmla="*/ 9975828 w 12192000"/>
              <a:gd name="connsiteY2603" fmla="*/ 5788921 h 6524625"/>
              <a:gd name="connsiteX2604" fmla="*/ 9974273 w 12192000"/>
              <a:gd name="connsiteY2604" fmla="*/ 5789660 h 6524625"/>
              <a:gd name="connsiteX2605" fmla="*/ 9972478 w 12192000"/>
              <a:gd name="connsiteY2605" fmla="*/ 5790275 h 6524625"/>
              <a:gd name="connsiteX2606" fmla="*/ 9970684 w 12192000"/>
              <a:gd name="connsiteY2606" fmla="*/ 5790890 h 6524625"/>
              <a:gd name="connsiteX2607" fmla="*/ 9968770 w 12192000"/>
              <a:gd name="connsiteY2607" fmla="*/ 5791506 h 6524625"/>
              <a:gd name="connsiteX2608" fmla="*/ 9966975 w 12192000"/>
              <a:gd name="connsiteY2608" fmla="*/ 5791875 h 6524625"/>
              <a:gd name="connsiteX2609" fmla="*/ 9965061 w 12192000"/>
              <a:gd name="connsiteY2609" fmla="*/ 5792244 h 6524625"/>
              <a:gd name="connsiteX2610" fmla="*/ 9963147 w 12192000"/>
              <a:gd name="connsiteY2610" fmla="*/ 5792614 h 6524625"/>
              <a:gd name="connsiteX2611" fmla="*/ 9959199 w 12192000"/>
              <a:gd name="connsiteY2611" fmla="*/ 5793106 h 6524625"/>
              <a:gd name="connsiteX2612" fmla="*/ 9955132 w 12192000"/>
              <a:gd name="connsiteY2612" fmla="*/ 5793352 h 6524625"/>
              <a:gd name="connsiteX2613" fmla="*/ 9950945 w 12192000"/>
              <a:gd name="connsiteY2613" fmla="*/ 5793598 h 6524625"/>
              <a:gd name="connsiteX2614" fmla="*/ 9946758 w 12192000"/>
              <a:gd name="connsiteY2614" fmla="*/ 5793598 h 6524625"/>
              <a:gd name="connsiteX2615" fmla="*/ 9937546 w 12192000"/>
              <a:gd name="connsiteY2615" fmla="*/ 5793598 h 6524625"/>
              <a:gd name="connsiteX2616" fmla="*/ 9851475 w 12192000"/>
              <a:gd name="connsiteY2616" fmla="*/ 5666086 h 6524625"/>
              <a:gd name="connsiteX2617" fmla="*/ 9851475 w 12192000"/>
              <a:gd name="connsiteY2617" fmla="*/ 5991243 h 6524625"/>
              <a:gd name="connsiteX2618" fmla="*/ 9982182 w 12192000"/>
              <a:gd name="connsiteY2618" fmla="*/ 5991243 h 6524625"/>
              <a:gd name="connsiteX2619" fmla="*/ 9987828 w 12192000"/>
              <a:gd name="connsiteY2619" fmla="*/ 5991120 h 6524625"/>
              <a:gd name="connsiteX2620" fmla="*/ 9993350 w 12192000"/>
              <a:gd name="connsiteY2620" fmla="*/ 5990998 h 6524625"/>
              <a:gd name="connsiteX2621" fmla="*/ 9998996 w 12192000"/>
              <a:gd name="connsiteY2621" fmla="*/ 5990629 h 6524625"/>
              <a:gd name="connsiteX2622" fmla="*/ 10004396 w 12192000"/>
              <a:gd name="connsiteY2622" fmla="*/ 5990139 h 6524625"/>
              <a:gd name="connsiteX2623" fmla="*/ 10009919 w 12192000"/>
              <a:gd name="connsiteY2623" fmla="*/ 5989525 h 6524625"/>
              <a:gd name="connsiteX2624" fmla="*/ 10015196 w 12192000"/>
              <a:gd name="connsiteY2624" fmla="*/ 5988788 h 6524625"/>
              <a:gd name="connsiteX2625" fmla="*/ 10020474 w 12192000"/>
              <a:gd name="connsiteY2625" fmla="*/ 5987806 h 6524625"/>
              <a:gd name="connsiteX2626" fmla="*/ 10025874 w 12192000"/>
              <a:gd name="connsiteY2626" fmla="*/ 5986702 h 6524625"/>
              <a:gd name="connsiteX2627" fmla="*/ 10030906 w 12192000"/>
              <a:gd name="connsiteY2627" fmla="*/ 5985474 h 6524625"/>
              <a:gd name="connsiteX2628" fmla="*/ 10036060 w 12192000"/>
              <a:gd name="connsiteY2628" fmla="*/ 5984124 h 6524625"/>
              <a:gd name="connsiteX2629" fmla="*/ 10040969 w 12192000"/>
              <a:gd name="connsiteY2629" fmla="*/ 5982405 h 6524625"/>
              <a:gd name="connsiteX2630" fmla="*/ 10045756 w 12192000"/>
              <a:gd name="connsiteY2630" fmla="*/ 5980687 h 6524625"/>
              <a:gd name="connsiteX2631" fmla="*/ 10050297 w 12192000"/>
              <a:gd name="connsiteY2631" fmla="*/ 5978600 h 6524625"/>
              <a:gd name="connsiteX2632" fmla="*/ 10054961 w 12192000"/>
              <a:gd name="connsiteY2632" fmla="*/ 5976514 h 6524625"/>
              <a:gd name="connsiteX2633" fmla="*/ 10059379 w 12192000"/>
              <a:gd name="connsiteY2633" fmla="*/ 5974059 h 6524625"/>
              <a:gd name="connsiteX2634" fmla="*/ 10063552 w 12192000"/>
              <a:gd name="connsiteY2634" fmla="*/ 5971604 h 6524625"/>
              <a:gd name="connsiteX2635" fmla="*/ 10067602 w 12192000"/>
              <a:gd name="connsiteY2635" fmla="*/ 5968903 h 6524625"/>
              <a:gd name="connsiteX2636" fmla="*/ 10071406 w 12192000"/>
              <a:gd name="connsiteY2636" fmla="*/ 5965835 h 6524625"/>
              <a:gd name="connsiteX2637" fmla="*/ 10075088 w 12192000"/>
              <a:gd name="connsiteY2637" fmla="*/ 5962889 h 6524625"/>
              <a:gd name="connsiteX2638" fmla="*/ 10078525 w 12192000"/>
              <a:gd name="connsiteY2638" fmla="*/ 5959452 h 6524625"/>
              <a:gd name="connsiteX2639" fmla="*/ 10081838 w 12192000"/>
              <a:gd name="connsiteY2639" fmla="*/ 5955892 h 6524625"/>
              <a:gd name="connsiteX2640" fmla="*/ 10084784 w 12192000"/>
              <a:gd name="connsiteY2640" fmla="*/ 5951964 h 6524625"/>
              <a:gd name="connsiteX2641" fmla="*/ 10087607 w 12192000"/>
              <a:gd name="connsiteY2641" fmla="*/ 5948036 h 6524625"/>
              <a:gd name="connsiteX2642" fmla="*/ 10090061 w 12192000"/>
              <a:gd name="connsiteY2642" fmla="*/ 5943740 h 6524625"/>
              <a:gd name="connsiteX2643" fmla="*/ 10092393 w 12192000"/>
              <a:gd name="connsiteY2643" fmla="*/ 5939321 h 6524625"/>
              <a:gd name="connsiteX2644" fmla="*/ 10094357 w 12192000"/>
              <a:gd name="connsiteY2644" fmla="*/ 5934534 h 6524625"/>
              <a:gd name="connsiteX2645" fmla="*/ 10096075 w 12192000"/>
              <a:gd name="connsiteY2645" fmla="*/ 5929624 h 6524625"/>
              <a:gd name="connsiteX2646" fmla="*/ 10097548 w 12192000"/>
              <a:gd name="connsiteY2646" fmla="*/ 5924469 h 6524625"/>
              <a:gd name="connsiteX2647" fmla="*/ 10098775 w 12192000"/>
              <a:gd name="connsiteY2647" fmla="*/ 5918822 h 6524625"/>
              <a:gd name="connsiteX2648" fmla="*/ 10099511 w 12192000"/>
              <a:gd name="connsiteY2648" fmla="*/ 5913176 h 6524625"/>
              <a:gd name="connsiteX2649" fmla="*/ 10100002 w 12192000"/>
              <a:gd name="connsiteY2649" fmla="*/ 5907284 h 6524625"/>
              <a:gd name="connsiteX2650" fmla="*/ 10100125 w 12192000"/>
              <a:gd name="connsiteY2650" fmla="*/ 5900901 h 6524625"/>
              <a:gd name="connsiteX2651" fmla="*/ 10100125 w 12192000"/>
              <a:gd name="connsiteY2651" fmla="*/ 5896728 h 6524625"/>
              <a:gd name="connsiteX2652" fmla="*/ 10100002 w 12192000"/>
              <a:gd name="connsiteY2652" fmla="*/ 5892677 h 6524625"/>
              <a:gd name="connsiteX2653" fmla="*/ 10099634 w 12192000"/>
              <a:gd name="connsiteY2653" fmla="*/ 5888627 h 6524625"/>
              <a:gd name="connsiteX2654" fmla="*/ 10099266 w 12192000"/>
              <a:gd name="connsiteY2654" fmla="*/ 5884699 h 6524625"/>
              <a:gd name="connsiteX2655" fmla="*/ 10098775 w 12192000"/>
              <a:gd name="connsiteY2655" fmla="*/ 5880771 h 6524625"/>
              <a:gd name="connsiteX2656" fmla="*/ 10097916 w 12192000"/>
              <a:gd name="connsiteY2656" fmla="*/ 5876966 h 6524625"/>
              <a:gd name="connsiteX2657" fmla="*/ 10097179 w 12192000"/>
              <a:gd name="connsiteY2657" fmla="*/ 5873406 h 6524625"/>
              <a:gd name="connsiteX2658" fmla="*/ 10096320 w 12192000"/>
              <a:gd name="connsiteY2658" fmla="*/ 5869846 h 6524625"/>
              <a:gd name="connsiteX2659" fmla="*/ 10095339 w 12192000"/>
              <a:gd name="connsiteY2659" fmla="*/ 5866287 h 6524625"/>
              <a:gd name="connsiteX2660" fmla="*/ 10094111 w 12192000"/>
              <a:gd name="connsiteY2660" fmla="*/ 5862973 h 6524625"/>
              <a:gd name="connsiteX2661" fmla="*/ 10092884 w 12192000"/>
              <a:gd name="connsiteY2661" fmla="*/ 5859658 h 6524625"/>
              <a:gd name="connsiteX2662" fmla="*/ 10091411 w 12192000"/>
              <a:gd name="connsiteY2662" fmla="*/ 5856590 h 6524625"/>
              <a:gd name="connsiteX2663" fmla="*/ 10089816 w 12192000"/>
              <a:gd name="connsiteY2663" fmla="*/ 5853521 h 6524625"/>
              <a:gd name="connsiteX2664" fmla="*/ 10088220 w 12192000"/>
              <a:gd name="connsiteY2664" fmla="*/ 5850452 h 6524625"/>
              <a:gd name="connsiteX2665" fmla="*/ 10086379 w 12192000"/>
              <a:gd name="connsiteY2665" fmla="*/ 5847752 h 6524625"/>
              <a:gd name="connsiteX2666" fmla="*/ 10084416 w 12192000"/>
              <a:gd name="connsiteY2666" fmla="*/ 5844929 h 6524625"/>
              <a:gd name="connsiteX2667" fmla="*/ 10082329 w 12192000"/>
              <a:gd name="connsiteY2667" fmla="*/ 5842228 h 6524625"/>
              <a:gd name="connsiteX2668" fmla="*/ 10080120 w 12192000"/>
              <a:gd name="connsiteY2668" fmla="*/ 5839773 h 6524625"/>
              <a:gd name="connsiteX2669" fmla="*/ 10077666 w 12192000"/>
              <a:gd name="connsiteY2669" fmla="*/ 5837441 h 6524625"/>
              <a:gd name="connsiteX2670" fmla="*/ 10075211 w 12192000"/>
              <a:gd name="connsiteY2670" fmla="*/ 5835232 h 6524625"/>
              <a:gd name="connsiteX2671" fmla="*/ 10072511 w 12192000"/>
              <a:gd name="connsiteY2671" fmla="*/ 5833022 h 6524625"/>
              <a:gd name="connsiteX2672" fmla="*/ 10069811 w 12192000"/>
              <a:gd name="connsiteY2672" fmla="*/ 5831058 h 6524625"/>
              <a:gd name="connsiteX2673" fmla="*/ 10066865 w 12192000"/>
              <a:gd name="connsiteY2673" fmla="*/ 5829094 h 6524625"/>
              <a:gd name="connsiteX2674" fmla="*/ 10063674 w 12192000"/>
              <a:gd name="connsiteY2674" fmla="*/ 5827376 h 6524625"/>
              <a:gd name="connsiteX2675" fmla="*/ 10060483 w 12192000"/>
              <a:gd name="connsiteY2675" fmla="*/ 5825657 h 6524625"/>
              <a:gd name="connsiteX2676" fmla="*/ 10057047 w 12192000"/>
              <a:gd name="connsiteY2676" fmla="*/ 5824307 h 6524625"/>
              <a:gd name="connsiteX2677" fmla="*/ 10053488 w 12192000"/>
              <a:gd name="connsiteY2677" fmla="*/ 5822957 h 6524625"/>
              <a:gd name="connsiteX2678" fmla="*/ 10049806 w 12192000"/>
              <a:gd name="connsiteY2678" fmla="*/ 5821730 h 6524625"/>
              <a:gd name="connsiteX2679" fmla="*/ 10046001 w 12192000"/>
              <a:gd name="connsiteY2679" fmla="*/ 5820625 h 6524625"/>
              <a:gd name="connsiteX2680" fmla="*/ 10042074 w 12192000"/>
              <a:gd name="connsiteY2680" fmla="*/ 5819643 h 6524625"/>
              <a:gd name="connsiteX2681" fmla="*/ 10037901 w 12192000"/>
              <a:gd name="connsiteY2681" fmla="*/ 5818906 h 6524625"/>
              <a:gd name="connsiteX2682" fmla="*/ 10033728 w 12192000"/>
              <a:gd name="connsiteY2682" fmla="*/ 5818293 h 6524625"/>
              <a:gd name="connsiteX2683" fmla="*/ 10033728 w 12192000"/>
              <a:gd name="connsiteY2683" fmla="*/ 5817311 h 6524625"/>
              <a:gd name="connsiteX2684" fmla="*/ 10036183 w 12192000"/>
              <a:gd name="connsiteY2684" fmla="*/ 5816083 h 6524625"/>
              <a:gd name="connsiteX2685" fmla="*/ 10038392 w 12192000"/>
              <a:gd name="connsiteY2685" fmla="*/ 5814733 h 6524625"/>
              <a:gd name="connsiteX2686" fmla="*/ 10040724 w 12192000"/>
              <a:gd name="connsiteY2686" fmla="*/ 5813383 h 6524625"/>
              <a:gd name="connsiteX2687" fmla="*/ 10042810 w 12192000"/>
              <a:gd name="connsiteY2687" fmla="*/ 5811910 h 6524625"/>
              <a:gd name="connsiteX2688" fmla="*/ 10044897 w 12192000"/>
              <a:gd name="connsiteY2688" fmla="*/ 5810437 h 6524625"/>
              <a:gd name="connsiteX2689" fmla="*/ 10046860 w 12192000"/>
              <a:gd name="connsiteY2689" fmla="*/ 5808718 h 6524625"/>
              <a:gd name="connsiteX2690" fmla="*/ 10048701 w 12192000"/>
              <a:gd name="connsiteY2690" fmla="*/ 5807123 h 6524625"/>
              <a:gd name="connsiteX2691" fmla="*/ 10050542 w 12192000"/>
              <a:gd name="connsiteY2691" fmla="*/ 5805527 h 6524625"/>
              <a:gd name="connsiteX2692" fmla="*/ 10052138 w 12192000"/>
              <a:gd name="connsiteY2692" fmla="*/ 5803686 h 6524625"/>
              <a:gd name="connsiteX2693" fmla="*/ 10053733 w 12192000"/>
              <a:gd name="connsiteY2693" fmla="*/ 5801967 h 6524625"/>
              <a:gd name="connsiteX2694" fmla="*/ 10055329 w 12192000"/>
              <a:gd name="connsiteY2694" fmla="*/ 5800003 h 6524625"/>
              <a:gd name="connsiteX2695" fmla="*/ 10056679 w 12192000"/>
              <a:gd name="connsiteY2695" fmla="*/ 5798162 h 6524625"/>
              <a:gd name="connsiteX2696" fmla="*/ 10058152 w 12192000"/>
              <a:gd name="connsiteY2696" fmla="*/ 5796321 h 6524625"/>
              <a:gd name="connsiteX2697" fmla="*/ 10059379 w 12192000"/>
              <a:gd name="connsiteY2697" fmla="*/ 5794234 h 6524625"/>
              <a:gd name="connsiteX2698" fmla="*/ 10060483 w 12192000"/>
              <a:gd name="connsiteY2698" fmla="*/ 5792270 h 6524625"/>
              <a:gd name="connsiteX2699" fmla="*/ 10061711 w 12192000"/>
              <a:gd name="connsiteY2699" fmla="*/ 5790061 h 6524625"/>
              <a:gd name="connsiteX2700" fmla="*/ 10062692 w 12192000"/>
              <a:gd name="connsiteY2700" fmla="*/ 5787974 h 6524625"/>
              <a:gd name="connsiteX2701" fmla="*/ 10063674 w 12192000"/>
              <a:gd name="connsiteY2701" fmla="*/ 5785765 h 6524625"/>
              <a:gd name="connsiteX2702" fmla="*/ 10064533 w 12192000"/>
              <a:gd name="connsiteY2702" fmla="*/ 5783555 h 6524625"/>
              <a:gd name="connsiteX2703" fmla="*/ 10065393 w 12192000"/>
              <a:gd name="connsiteY2703" fmla="*/ 5781223 h 6524625"/>
              <a:gd name="connsiteX2704" fmla="*/ 10066129 w 12192000"/>
              <a:gd name="connsiteY2704" fmla="*/ 5779014 h 6524625"/>
              <a:gd name="connsiteX2705" fmla="*/ 10066743 w 12192000"/>
              <a:gd name="connsiteY2705" fmla="*/ 5776559 h 6524625"/>
              <a:gd name="connsiteX2706" fmla="*/ 10067356 w 12192000"/>
              <a:gd name="connsiteY2706" fmla="*/ 5774104 h 6524625"/>
              <a:gd name="connsiteX2707" fmla="*/ 10067847 w 12192000"/>
              <a:gd name="connsiteY2707" fmla="*/ 5771649 h 6524625"/>
              <a:gd name="connsiteX2708" fmla="*/ 10068215 w 12192000"/>
              <a:gd name="connsiteY2708" fmla="*/ 5769071 h 6524625"/>
              <a:gd name="connsiteX2709" fmla="*/ 10068584 w 12192000"/>
              <a:gd name="connsiteY2709" fmla="*/ 5766616 h 6524625"/>
              <a:gd name="connsiteX2710" fmla="*/ 10069074 w 12192000"/>
              <a:gd name="connsiteY2710" fmla="*/ 5764038 h 6524625"/>
              <a:gd name="connsiteX2711" fmla="*/ 10069320 w 12192000"/>
              <a:gd name="connsiteY2711" fmla="*/ 5761338 h 6524625"/>
              <a:gd name="connsiteX2712" fmla="*/ 10069688 w 12192000"/>
              <a:gd name="connsiteY2712" fmla="*/ 5756060 h 6524625"/>
              <a:gd name="connsiteX2713" fmla="*/ 10069811 w 12192000"/>
              <a:gd name="connsiteY2713" fmla="*/ 5750659 h 6524625"/>
              <a:gd name="connsiteX2714" fmla="*/ 10069688 w 12192000"/>
              <a:gd name="connsiteY2714" fmla="*/ 5745013 h 6524625"/>
              <a:gd name="connsiteX2715" fmla="*/ 10069320 w 12192000"/>
              <a:gd name="connsiteY2715" fmla="*/ 5739366 h 6524625"/>
              <a:gd name="connsiteX2716" fmla="*/ 10068706 w 12192000"/>
              <a:gd name="connsiteY2716" fmla="*/ 5734211 h 6524625"/>
              <a:gd name="connsiteX2717" fmla="*/ 10067970 w 12192000"/>
              <a:gd name="connsiteY2717" fmla="*/ 5729178 h 6524625"/>
              <a:gd name="connsiteX2718" fmla="*/ 10066988 w 12192000"/>
              <a:gd name="connsiteY2718" fmla="*/ 5724391 h 6524625"/>
              <a:gd name="connsiteX2719" fmla="*/ 10065761 w 12192000"/>
              <a:gd name="connsiteY2719" fmla="*/ 5719849 h 6524625"/>
              <a:gd name="connsiteX2720" fmla="*/ 10064288 w 12192000"/>
              <a:gd name="connsiteY2720" fmla="*/ 5715431 h 6524625"/>
              <a:gd name="connsiteX2721" fmla="*/ 10062815 w 12192000"/>
              <a:gd name="connsiteY2721" fmla="*/ 5711257 h 6524625"/>
              <a:gd name="connsiteX2722" fmla="*/ 10060852 w 12192000"/>
              <a:gd name="connsiteY2722" fmla="*/ 5707329 h 6524625"/>
              <a:gd name="connsiteX2723" fmla="*/ 10059011 w 12192000"/>
              <a:gd name="connsiteY2723" fmla="*/ 5703524 h 6524625"/>
              <a:gd name="connsiteX2724" fmla="*/ 10056679 w 12192000"/>
              <a:gd name="connsiteY2724" fmla="*/ 5699964 h 6524625"/>
              <a:gd name="connsiteX2725" fmla="*/ 10054470 w 12192000"/>
              <a:gd name="connsiteY2725" fmla="*/ 5696528 h 6524625"/>
              <a:gd name="connsiteX2726" fmla="*/ 10051770 w 12192000"/>
              <a:gd name="connsiteY2726" fmla="*/ 5693336 h 6524625"/>
              <a:gd name="connsiteX2727" fmla="*/ 10049070 w 12192000"/>
              <a:gd name="connsiteY2727" fmla="*/ 5690513 h 6524625"/>
              <a:gd name="connsiteX2728" fmla="*/ 10046124 w 12192000"/>
              <a:gd name="connsiteY2728" fmla="*/ 5687690 h 6524625"/>
              <a:gd name="connsiteX2729" fmla="*/ 10042933 w 12192000"/>
              <a:gd name="connsiteY2729" fmla="*/ 5685112 h 6524625"/>
              <a:gd name="connsiteX2730" fmla="*/ 10039865 w 12192000"/>
              <a:gd name="connsiteY2730" fmla="*/ 5682657 h 6524625"/>
              <a:gd name="connsiteX2731" fmla="*/ 10036428 w 12192000"/>
              <a:gd name="connsiteY2731" fmla="*/ 5680325 h 6524625"/>
              <a:gd name="connsiteX2732" fmla="*/ 10032746 w 12192000"/>
              <a:gd name="connsiteY2732" fmla="*/ 5678361 h 6524625"/>
              <a:gd name="connsiteX2733" fmla="*/ 10029065 w 12192000"/>
              <a:gd name="connsiteY2733" fmla="*/ 5676520 h 6524625"/>
              <a:gd name="connsiteX2734" fmla="*/ 10025137 w 12192000"/>
              <a:gd name="connsiteY2734" fmla="*/ 5674801 h 6524625"/>
              <a:gd name="connsiteX2735" fmla="*/ 10021087 w 12192000"/>
              <a:gd name="connsiteY2735" fmla="*/ 5673206 h 6524625"/>
              <a:gd name="connsiteX2736" fmla="*/ 10016792 w 12192000"/>
              <a:gd name="connsiteY2736" fmla="*/ 5671733 h 6524625"/>
              <a:gd name="connsiteX2737" fmla="*/ 10012373 w 12192000"/>
              <a:gd name="connsiteY2737" fmla="*/ 5670628 h 6524625"/>
              <a:gd name="connsiteX2738" fmla="*/ 10007955 w 12192000"/>
              <a:gd name="connsiteY2738" fmla="*/ 5669523 h 6524625"/>
              <a:gd name="connsiteX2739" fmla="*/ 10003291 w 12192000"/>
              <a:gd name="connsiteY2739" fmla="*/ 5668664 h 6524625"/>
              <a:gd name="connsiteX2740" fmla="*/ 9998505 w 12192000"/>
              <a:gd name="connsiteY2740" fmla="*/ 5667927 h 6524625"/>
              <a:gd name="connsiteX2741" fmla="*/ 9993596 w 12192000"/>
              <a:gd name="connsiteY2741" fmla="*/ 5667191 h 6524625"/>
              <a:gd name="connsiteX2742" fmla="*/ 9988687 w 12192000"/>
              <a:gd name="connsiteY2742" fmla="*/ 5666700 h 6524625"/>
              <a:gd name="connsiteX2743" fmla="*/ 9983409 w 12192000"/>
              <a:gd name="connsiteY2743" fmla="*/ 5666332 h 6524625"/>
              <a:gd name="connsiteX2744" fmla="*/ 9978255 w 12192000"/>
              <a:gd name="connsiteY2744" fmla="*/ 5666209 h 6524625"/>
              <a:gd name="connsiteX2745" fmla="*/ 9972854 w 12192000"/>
              <a:gd name="connsiteY2745" fmla="*/ 5666086 h 6524625"/>
              <a:gd name="connsiteX2746" fmla="*/ 9475976 w 12192000"/>
              <a:gd name="connsiteY2746" fmla="*/ 5656523 h 6524625"/>
              <a:gd name="connsiteX2747" fmla="*/ 9217099 w 12192000"/>
              <a:gd name="connsiteY2747" fmla="*/ 5914675 h 6524625"/>
              <a:gd name="connsiteX2748" fmla="*/ 9475976 w 12192000"/>
              <a:gd name="connsiteY2748" fmla="*/ 6172949 h 6524625"/>
              <a:gd name="connsiteX2749" fmla="*/ 9633212 w 12192000"/>
              <a:gd name="connsiteY2749" fmla="*/ 6015973 h 6524625"/>
              <a:gd name="connsiteX2750" fmla="*/ 9558635 w 12192000"/>
              <a:gd name="connsiteY2750" fmla="*/ 5941533 h 6524625"/>
              <a:gd name="connsiteX2751" fmla="*/ 9475976 w 12192000"/>
              <a:gd name="connsiteY2751" fmla="*/ 6023700 h 6524625"/>
              <a:gd name="connsiteX2752" fmla="*/ 9368335 w 12192000"/>
              <a:gd name="connsiteY2752" fmla="*/ 5916637 h 6524625"/>
              <a:gd name="connsiteX2753" fmla="*/ 9476098 w 12192000"/>
              <a:gd name="connsiteY2753" fmla="*/ 5809207 h 6524625"/>
              <a:gd name="connsiteX2754" fmla="*/ 9658439 w 12192000"/>
              <a:gd name="connsiteY2754" fmla="*/ 5990955 h 6524625"/>
              <a:gd name="connsiteX2755" fmla="*/ 9818002 w 12192000"/>
              <a:gd name="connsiteY2755" fmla="*/ 5990955 h 6524625"/>
              <a:gd name="connsiteX2756" fmla="*/ 9818002 w 12192000"/>
              <a:gd name="connsiteY2756" fmla="*/ 5888553 h 6524625"/>
              <a:gd name="connsiteX2757" fmla="*/ 9708524 w 12192000"/>
              <a:gd name="connsiteY2757" fmla="*/ 5888553 h 6524625"/>
              <a:gd name="connsiteX2758" fmla="*/ 10627708 w 12192000"/>
              <a:gd name="connsiteY2758" fmla="*/ 5634208 h 6524625"/>
              <a:gd name="connsiteX2759" fmla="*/ 10627708 w 12192000"/>
              <a:gd name="connsiteY2759" fmla="*/ 5991243 h 6524625"/>
              <a:gd name="connsiteX2760" fmla="*/ 10707403 w 12192000"/>
              <a:gd name="connsiteY2760" fmla="*/ 5991243 h 6524625"/>
              <a:gd name="connsiteX2761" fmla="*/ 10707403 w 12192000"/>
              <a:gd name="connsiteY2761" fmla="*/ 5634208 h 6524625"/>
              <a:gd name="connsiteX2762" fmla="*/ 0 w 12192000"/>
              <a:gd name="connsiteY2762" fmla="*/ 0 h 6524625"/>
              <a:gd name="connsiteX2763" fmla="*/ 12192000 w 12192000"/>
              <a:gd name="connsiteY2763" fmla="*/ 0 h 6524625"/>
              <a:gd name="connsiteX2764" fmla="*/ 12192000 w 12192000"/>
              <a:gd name="connsiteY2764" fmla="*/ 6524625 h 6524625"/>
              <a:gd name="connsiteX2765" fmla="*/ 0 w 12192000"/>
              <a:gd name="connsiteY2765" fmla="*/ 6524625 h 6524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</a:cxnLst>
            <a:rect l="l" t="t" r="r" b="b"/>
            <a:pathLst>
              <a:path w="12192000" h="6524625">
                <a:moveTo>
                  <a:pt x="10842420" y="6118756"/>
                </a:moveTo>
                <a:lnTo>
                  <a:pt x="10844417" y="6118756"/>
                </a:lnTo>
                <a:lnTo>
                  <a:pt x="10846413" y="6118756"/>
                </a:lnTo>
                <a:lnTo>
                  <a:pt x="10848285" y="6119123"/>
                </a:lnTo>
                <a:lnTo>
                  <a:pt x="10850157" y="6119489"/>
                </a:lnTo>
                <a:lnTo>
                  <a:pt x="10851779" y="6119978"/>
                </a:lnTo>
                <a:lnTo>
                  <a:pt x="10853526" y="6120711"/>
                </a:lnTo>
                <a:lnTo>
                  <a:pt x="10854899" y="6121688"/>
                </a:lnTo>
                <a:lnTo>
                  <a:pt x="10856147" y="6122666"/>
                </a:lnTo>
                <a:lnTo>
                  <a:pt x="10857395" y="6123643"/>
                </a:lnTo>
                <a:lnTo>
                  <a:pt x="10858393" y="6124864"/>
                </a:lnTo>
                <a:lnTo>
                  <a:pt x="10859391" y="6126208"/>
                </a:lnTo>
                <a:lnTo>
                  <a:pt x="10860265" y="6127552"/>
                </a:lnTo>
                <a:lnTo>
                  <a:pt x="10860889" y="6129018"/>
                </a:lnTo>
                <a:lnTo>
                  <a:pt x="10861388" y="6130606"/>
                </a:lnTo>
                <a:lnTo>
                  <a:pt x="10861762" y="6132194"/>
                </a:lnTo>
                <a:lnTo>
                  <a:pt x="10861887" y="6133782"/>
                </a:lnTo>
                <a:lnTo>
                  <a:pt x="10862012" y="6135615"/>
                </a:lnTo>
                <a:lnTo>
                  <a:pt x="10861887" y="6137203"/>
                </a:lnTo>
                <a:lnTo>
                  <a:pt x="10861762" y="6139036"/>
                </a:lnTo>
                <a:lnTo>
                  <a:pt x="10861388" y="6140624"/>
                </a:lnTo>
                <a:lnTo>
                  <a:pt x="10860889" y="6142090"/>
                </a:lnTo>
                <a:lnTo>
                  <a:pt x="10860265" y="6143678"/>
                </a:lnTo>
                <a:lnTo>
                  <a:pt x="10859391" y="6145022"/>
                </a:lnTo>
                <a:lnTo>
                  <a:pt x="10858393" y="6146243"/>
                </a:lnTo>
                <a:lnTo>
                  <a:pt x="10857395" y="6147465"/>
                </a:lnTo>
                <a:lnTo>
                  <a:pt x="10856147" y="6148564"/>
                </a:lnTo>
                <a:lnTo>
                  <a:pt x="10854899" y="6149419"/>
                </a:lnTo>
                <a:lnTo>
                  <a:pt x="10853526" y="6150275"/>
                </a:lnTo>
                <a:lnTo>
                  <a:pt x="10851904" y="6151008"/>
                </a:lnTo>
                <a:lnTo>
                  <a:pt x="10850157" y="6151618"/>
                </a:lnTo>
                <a:lnTo>
                  <a:pt x="10848410" y="6151985"/>
                </a:lnTo>
                <a:lnTo>
                  <a:pt x="10846538" y="6152229"/>
                </a:lnTo>
                <a:lnTo>
                  <a:pt x="10844417" y="6152229"/>
                </a:lnTo>
                <a:lnTo>
                  <a:pt x="10842420" y="6152229"/>
                </a:lnTo>
                <a:lnTo>
                  <a:pt x="10840423" y="6151985"/>
                </a:lnTo>
                <a:lnTo>
                  <a:pt x="10838676" y="6151618"/>
                </a:lnTo>
                <a:lnTo>
                  <a:pt x="10836929" y="6151008"/>
                </a:lnTo>
                <a:lnTo>
                  <a:pt x="10835432" y="6150275"/>
                </a:lnTo>
                <a:lnTo>
                  <a:pt x="10834059" y="6149419"/>
                </a:lnTo>
                <a:lnTo>
                  <a:pt x="10832686" y="6148564"/>
                </a:lnTo>
                <a:lnTo>
                  <a:pt x="10831563" y="6147465"/>
                </a:lnTo>
                <a:lnTo>
                  <a:pt x="10830440" y="6146243"/>
                </a:lnTo>
                <a:lnTo>
                  <a:pt x="10829442" y="6145022"/>
                </a:lnTo>
                <a:lnTo>
                  <a:pt x="10828693" y="6143678"/>
                </a:lnTo>
                <a:lnTo>
                  <a:pt x="10828069" y="6142090"/>
                </a:lnTo>
                <a:lnTo>
                  <a:pt x="10827570" y="6140624"/>
                </a:lnTo>
                <a:lnTo>
                  <a:pt x="10827196" y="6139036"/>
                </a:lnTo>
                <a:lnTo>
                  <a:pt x="10826946" y="6137203"/>
                </a:lnTo>
                <a:lnTo>
                  <a:pt x="10826946" y="6135615"/>
                </a:lnTo>
                <a:lnTo>
                  <a:pt x="10826946" y="6133782"/>
                </a:lnTo>
                <a:lnTo>
                  <a:pt x="10827196" y="6132194"/>
                </a:lnTo>
                <a:lnTo>
                  <a:pt x="10827570" y="6130606"/>
                </a:lnTo>
                <a:lnTo>
                  <a:pt x="10828069" y="6129018"/>
                </a:lnTo>
                <a:lnTo>
                  <a:pt x="10828693" y="6127552"/>
                </a:lnTo>
                <a:lnTo>
                  <a:pt x="10829442" y="6126208"/>
                </a:lnTo>
                <a:lnTo>
                  <a:pt x="10830440" y="6124864"/>
                </a:lnTo>
                <a:lnTo>
                  <a:pt x="10831563" y="6123643"/>
                </a:lnTo>
                <a:lnTo>
                  <a:pt x="10832686" y="6122666"/>
                </a:lnTo>
                <a:lnTo>
                  <a:pt x="10834059" y="6121688"/>
                </a:lnTo>
                <a:lnTo>
                  <a:pt x="10835432" y="6120711"/>
                </a:lnTo>
                <a:lnTo>
                  <a:pt x="10836929" y="6119978"/>
                </a:lnTo>
                <a:lnTo>
                  <a:pt x="10838676" y="6119489"/>
                </a:lnTo>
                <a:lnTo>
                  <a:pt x="10840423" y="6119123"/>
                </a:lnTo>
                <a:close/>
                <a:moveTo>
                  <a:pt x="10946325" y="6112380"/>
                </a:moveTo>
                <a:lnTo>
                  <a:pt x="10947647" y="6112380"/>
                </a:lnTo>
                <a:lnTo>
                  <a:pt x="10949089" y="6112380"/>
                </a:lnTo>
                <a:lnTo>
                  <a:pt x="10950290" y="6112649"/>
                </a:lnTo>
                <a:lnTo>
                  <a:pt x="10951492" y="6112917"/>
                </a:lnTo>
                <a:lnTo>
                  <a:pt x="10952814" y="6113320"/>
                </a:lnTo>
                <a:lnTo>
                  <a:pt x="10954016" y="6113722"/>
                </a:lnTo>
                <a:lnTo>
                  <a:pt x="10955097" y="6114394"/>
                </a:lnTo>
                <a:lnTo>
                  <a:pt x="10956299" y="6115065"/>
                </a:lnTo>
                <a:lnTo>
                  <a:pt x="10957260" y="6115736"/>
                </a:lnTo>
                <a:lnTo>
                  <a:pt x="10958222" y="6116810"/>
                </a:lnTo>
                <a:lnTo>
                  <a:pt x="10959063" y="6117749"/>
                </a:lnTo>
                <a:lnTo>
                  <a:pt x="10959904" y="6118823"/>
                </a:lnTo>
                <a:lnTo>
                  <a:pt x="10960625" y="6119897"/>
                </a:lnTo>
                <a:lnTo>
                  <a:pt x="10961226" y="6121239"/>
                </a:lnTo>
                <a:lnTo>
                  <a:pt x="10961707" y="6122447"/>
                </a:lnTo>
                <a:lnTo>
                  <a:pt x="10962188" y="6123789"/>
                </a:lnTo>
                <a:lnTo>
                  <a:pt x="10962428" y="6125131"/>
                </a:lnTo>
                <a:lnTo>
                  <a:pt x="10932144" y="6125131"/>
                </a:lnTo>
                <a:lnTo>
                  <a:pt x="10932505" y="6123655"/>
                </a:lnTo>
                <a:lnTo>
                  <a:pt x="10932985" y="6122313"/>
                </a:lnTo>
                <a:lnTo>
                  <a:pt x="10933466" y="6120970"/>
                </a:lnTo>
                <a:lnTo>
                  <a:pt x="10934067" y="6119628"/>
                </a:lnTo>
                <a:lnTo>
                  <a:pt x="10934908" y="6118554"/>
                </a:lnTo>
                <a:lnTo>
                  <a:pt x="10935749" y="6117481"/>
                </a:lnTo>
                <a:lnTo>
                  <a:pt x="10936590" y="6116541"/>
                </a:lnTo>
                <a:lnTo>
                  <a:pt x="10937552" y="6115602"/>
                </a:lnTo>
                <a:lnTo>
                  <a:pt x="10938754" y="6114796"/>
                </a:lnTo>
                <a:lnTo>
                  <a:pt x="10939835" y="6114125"/>
                </a:lnTo>
                <a:lnTo>
                  <a:pt x="10940917" y="6113588"/>
                </a:lnTo>
                <a:lnTo>
                  <a:pt x="10942239" y="6113186"/>
                </a:lnTo>
                <a:lnTo>
                  <a:pt x="10943561" y="6112783"/>
                </a:lnTo>
                <a:lnTo>
                  <a:pt x="10944762" y="6112514"/>
                </a:lnTo>
                <a:close/>
                <a:moveTo>
                  <a:pt x="10471165" y="6112380"/>
                </a:moveTo>
                <a:lnTo>
                  <a:pt x="10472721" y="6112380"/>
                </a:lnTo>
                <a:lnTo>
                  <a:pt x="10473918" y="6112380"/>
                </a:lnTo>
                <a:lnTo>
                  <a:pt x="10475235" y="6112649"/>
                </a:lnTo>
                <a:lnTo>
                  <a:pt x="10476551" y="6112917"/>
                </a:lnTo>
                <a:lnTo>
                  <a:pt x="10477748" y="6113320"/>
                </a:lnTo>
                <a:lnTo>
                  <a:pt x="10478826" y="6113722"/>
                </a:lnTo>
                <a:lnTo>
                  <a:pt x="10480023" y="6114394"/>
                </a:lnTo>
                <a:lnTo>
                  <a:pt x="10481100" y="6115065"/>
                </a:lnTo>
                <a:lnTo>
                  <a:pt x="10482177" y="6115736"/>
                </a:lnTo>
                <a:lnTo>
                  <a:pt x="10483015" y="6116810"/>
                </a:lnTo>
                <a:lnTo>
                  <a:pt x="10483973" y="6117749"/>
                </a:lnTo>
                <a:lnTo>
                  <a:pt x="10484811" y="6118823"/>
                </a:lnTo>
                <a:lnTo>
                  <a:pt x="10485529" y="6119897"/>
                </a:lnTo>
                <a:lnTo>
                  <a:pt x="10486127" y="6121239"/>
                </a:lnTo>
                <a:lnTo>
                  <a:pt x="10486606" y="6122447"/>
                </a:lnTo>
                <a:lnTo>
                  <a:pt x="10487085" y="6123789"/>
                </a:lnTo>
                <a:lnTo>
                  <a:pt x="10487444" y="6125131"/>
                </a:lnTo>
                <a:lnTo>
                  <a:pt x="10457160" y="6125131"/>
                </a:lnTo>
                <a:lnTo>
                  <a:pt x="10457399" y="6123655"/>
                </a:lnTo>
                <a:lnTo>
                  <a:pt x="10457878" y="6122313"/>
                </a:lnTo>
                <a:lnTo>
                  <a:pt x="10458596" y="6120970"/>
                </a:lnTo>
                <a:lnTo>
                  <a:pt x="10459195" y="6119628"/>
                </a:lnTo>
                <a:lnTo>
                  <a:pt x="10459913" y="6118554"/>
                </a:lnTo>
                <a:lnTo>
                  <a:pt x="10460751" y="6117481"/>
                </a:lnTo>
                <a:lnTo>
                  <a:pt x="10461709" y="6116541"/>
                </a:lnTo>
                <a:lnTo>
                  <a:pt x="10462666" y="6115602"/>
                </a:lnTo>
                <a:lnTo>
                  <a:pt x="10463624" y="6114796"/>
                </a:lnTo>
                <a:lnTo>
                  <a:pt x="10464701" y="6114125"/>
                </a:lnTo>
                <a:lnTo>
                  <a:pt x="10466018" y="6113588"/>
                </a:lnTo>
                <a:lnTo>
                  <a:pt x="10467215" y="6113186"/>
                </a:lnTo>
                <a:lnTo>
                  <a:pt x="10468412" y="6112783"/>
                </a:lnTo>
                <a:lnTo>
                  <a:pt x="10469848" y="6112514"/>
                </a:lnTo>
                <a:close/>
                <a:moveTo>
                  <a:pt x="9997774" y="6112380"/>
                </a:moveTo>
                <a:lnTo>
                  <a:pt x="9999330" y="6112380"/>
                </a:lnTo>
                <a:lnTo>
                  <a:pt x="10000527" y="6112380"/>
                </a:lnTo>
                <a:lnTo>
                  <a:pt x="10001844" y="6112649"/>
                </a:lnTo>
                <a:lnTo>
                  <a:pt x="10003160" y="6112917"/>
                </a:lnTo>
                <a:lnTo>
                  <a:pt x="10004357" y="6113320"/>
                </a:lnTo>
                <a:lnTo>
                  <a:pt x="10005435" y="6113722"/>
                </a:lnTo>
                <a:lnTo>
                  <a:pt x="10006751" y="6114394"/>
                </a:lnTo>
                <a:lnTo>
                  <a:pt x="10007709" y="6115065"/>
                </a:lnTo>
                <a:lnTo>
                  <a:pt x="10008786" y="6115736"/>
                </a:lnTo>
                <a:lnTo>
                  <a:pt x="10009624" y="6116810"/>
                </a:lnTo>
                <a:lnTo>
                  <a:pt x="10010582" y="6117749"/>
                </a:lnTo>
                <a:lnTo>
                  <a:pt x="10011420" y="6118823"/>
                </a:lnTo>
                <a:lnTo>
                  <a:pt x="10012138" y="6119897"/>
                </a:lnTo>
                <a:lnTo>
                  <a:pt x="10012736" y="6121239"/>
                </a:lnTo>
                <a:lnTo>
                  <a:pt x="10013215" y="6122447"/>
                </a:lnTo>
                <a:lnTo>
                  <a:pt x="10013694" y="6123789"/>
                </a:lnTo>
                <a:lnTo>
                  <a:pt x="10014053" y="6125131"/>
                </a:lnTo>
                <a:lnTo>
                  <a:pt x="9983769" y="6125131"/>
                </a:lnTo>
                <a:lnTo>
                  <a:pt x="9984008" y="6123655"/>
                </a:lnTo>
                <a:lnTo>
                  <a:pt x="9984487" y="6122313"/>
                </a:lnTo>
                <a:lnTo>
                  <a:pt x="9985205" y="6120970"/>
                </a:lnTo>
                <a:lnTo>
                  <a:pt x="9985804" y="6119628"/>
                </a:lnTo>
                <a:lnTo>
                  <a:pt x="9986522" y="6118554"/>
                </a:lnTo>
                <a:lnTo>
                  <a:pt x="9987360" y="6117481"/>
                </a:lnTo>
                <a:lnTo>
                  <a:pt x="9988318" y="6116541"/>
                </a:lnTo>
                <a:lnTo>
                  <a:pt x="9989275" y="6115602"/>
                </a:lnTo>
                <a:lnTo>
                  <a:pt x="9990233" y="6114796"/>
                </a:lnTo>
                <a:lnTo>
                  <a:pt x="9991430" y="6114125"/>
                </a:lnTo>
                <a:lnTo>
                  <a:pt x="9992627" y="6113588"/>
                </a:lnTo>
                <a:lnTo>
                  <a:pt x="9993824" y="6113186"/>
                </a:lnTo>
                <a:lnTo>
                  <a:pt x="9995021" y="6112783"/>
                </a:lnTo>
                <a:lnTo>
                  <a:pt x="9996457" y="6112514"/>
                </a:lnTo>
                <a:close/>
                <a:moveTo>
                  <a:pt x="10603799" y="6098034"/>
                </a:moveTo>
                <a:lnTo>
                  <a:pt x="10603799" y="6142654"/>
                </a:lnTo>
                <a:lnTo>
                  <a:pt x="10603799" y="6144836"/>
                </a:lnTo>
                <a:lnTo>
                  <a:pt x="10603921" y="6147140"/>
                </a:lnTo>
                <a:lnTo>
                  <a:pt x="10604164" y="6149080"/>
                </a:lnTo>
                <a:lnTo>
                  <a:pt x="10604529" y="6151020"/>
                </a:lnTo>
                <a:lnTo>
                  <a:pt x="10604894" y="6152839"/>
                </a:lnTo>
                <a:lnTo>
                  <a:pt x="10605381" y="6154779"/>
                </a:lnTo>
                <a:lnTo>
                  <a:pt x="10606111" y="6156355"/>
                </a:lnTo>
                <a:lnTo>
                  <a:pt x="10606841" y="6157931"/>
                </a:lnTo>
                <a:lnTo>
                  <a:pt x="10607571" y="6159507"/>
                </a:lnTo>
                <a:lnTo>
                  <a:pt x="10608423" y="6160841"/>
                </a:lnTo>
                <a:lnTo>
                  <a:pt x="10609274" y="6162175"/>
                </a:lnTo>
                <a:lnTo>
                  <a:pt x="10610491" y="6163509"/>
                </a:lnTo>
                <a:lnTo>
                  <a:pt x="10611464" y="6164721"/>
                </a:lnTo>
                <a:lnTo>
                  <a:pt x="10612681" y="6165691"/>
                </a:lnTo>
                <a:lnTo>
                  <a:pt x="10613898" y="6166904"/>
                </a:lnTo>
                <a:lnTo>
                  <a:pt x="10615236" y="6167752"/>
                </a:lnTo>
                <a:lnTo>
                  <a:pt x="10616575" y="6168601"/>
                </a:lnTo>
                <a:lnTo>
                  <a:pt x="10618035" y="6169450"/>
                </a:lnTo>
                <a:lnTo>
                  <a:pt x="10619495" y="6170177"/>
                </a:lnTo>
                <a:lnTo>
                  <a:pt x="10621076" y="6170784"/>
                </a:lnTo>
                <a:lnTo>
                  <a:pt x="10622658" y="6171511"/>
                </a:lnTo>
                <a:lnTo>
                  <a:pt x="10624362" y="6172117"/>
                </a:lnTo>
                <a:lnTo>
                  <a:pt x="10626065" y="6172602"/>
                </a:lnTo>
                <a:lnTo>
                  <a:pt x="10627768" y="6172966"/>
                </a:lnTo>
                <a:lnTo>
                  <a:pt x="10631662" y="6173694"/>
                </a:lnTo>
                <a:lnTo>
                  <a:pt x="10635434" y="6174178"/>
                </a:lnTo>
                <a:lnTo>
                  <a:pt x="10639449" y="6174421"/>
                </a:lnTo>
                <a:lnTo>
                  <a:pt x="10643586" y="6174542"/>
                </a:lnTo>
                <a:lnTo>
                  <a:pt x="10647723" y="6174421"/>
                </a:lnTo>
                <a:lnTo>
                  <a:pt x="10651738" y="6174178"/>
                </a:lnTo>
                <a:lnTo>
                  <a:pt x="10655631" y="6173694"/>
                </a:lnTo>
                <a:lnTo>
                  <a:pt x="10659281" y="6172966"/>
                </a:lnTo>
                <a:lnTo>
                  <a:pt x="10661106" y="6172602"/>
                </a:lnTo>
                <a:lnTo>
                  <a:pt x="10662810" y="6172117"/>
                </a:lnTo>
                <a:lnTo>
                  <a:pt x="10664392" y="6171511"/>
                </a:lnTo>
                <a:lnTo>
                  <a:pt x="10666095" y="6170784"/>
                </a:lnTo>
                <a:lnTo>
                  <a:pt x="10667555" y="6170177"/>
                </a:lnTo>
                <a:lnTo>
                  <a:pt x="10669137" y="6169450"/>
                </a:lnTo>
                <a:lnTo>
                  <a:pt x="10670597" y="6168601"/>
                </a:lnTo>
                <a:lnTo>
                  <a:pt x="10672057" y="6167752"/>
                </a:lnTo>
                <a:lnTo>
                  <a:pt x="10673274" y="6166904"/>
                </a:lnTo>
                <a:lnTo>
                  <a:pt x="10674490" y="6165691"/>
                </a:lnTo>
                <a:lnTo>
                  <a:pt x="10675707" y="6164721"/>
                </a:lnTo>
                <a:lnTo>
                  <a:pt x="10676802" y="6163509"/>
                </a:lnTo>
                <a:lnTo>
                  <a:pt x="10677775" y="6162175"/>
                </a:lnTo>
                <a:lnTo>
                  <a:pt x="10678627" y="6160841"/>
                </a:lnTo>
                <a:lnTo>
                  <a:pt x="10679600" y="6159507"/>
                </a:lnTo>
                <a:lnTo>
                  <a:pt x="10680452" y="6157931"/>
                </a:lnTo>
                <a:lnTo>
                  <a:pt x="10681061" y="6156355"/>
                </a:lnTo>
                <a:lnTo>
                  <a:pt x="10681669" y="6154779"/>
                </a:lnTo>
                <a:lnTo>
                  <a:pt x="10682156" y="6152839"/>
                </a:lnTo>
                <a:lnTo>
                  <a:pt x="10682642" y="6151020"/>
                </a:lnTo>
                <a:lnTo>
                  <a:pt x="10683007" y="6149080"/>
                </a:lnTo>
                <a:lnTo>
                  <a:pt x="10683251" y="6147140"/>
                </a:lnTo>
                <a:lnTo>
                  <a:pt x="10683372" y="6144836"/>
                </a:lnTo>
                <a:lnTo>
                  <a:pt x="10683494" y="6142654"/>
                </a:lnTo>
                <a:lnTo>
                  <a:pt x="10683494" y="6098034"/>
                </a:lnTo>
                <a:lnTo>
                  <a:pt x="10656848" y="6098034"/>
                </a:lnTo>
                <a:lnTo>
                  <a:pt x="10656848" y="6137683"/>
                </a:lnTo>
                <a:lnTo>
                  <a:pt x="10656848" y="6139380"/>
                </a:lnTo>
                <a:lnTo>
                  <a:pt x="10656726" y="6140956"/>
                </a:lnTo>
                <a:lnTo>
                  <a:pt x="10656605" y="6142654"/>
                </a:lnTo>
                <a:lnTo>
                  <a:pt x="10656361" y="6144109"/>
                </a:lnTo>
                <a:lnTo>
                  <a:pt x="10655996" y="6145443"/>
                </a:lnTo>
                <a:lnTo>
                  <a:pt x="10655509" y="6146898"/>
                </a:lnTo>
                <a:lnTo>
                  <a:pt x="10655023" y="6147989"/>
                </a:lnTo>
                <a:lnTo>
                  <a:pt x="10654414" y="6149080"/>
                </a:lnTo>
                <a:lnTo>
                  <a:pt x="10653441" y="6150171"/>
                </a:lnTo>
                <a:lnTo>
                  <a:pt x="10652589" y="6151141"/>
                </a:lnTo>
                <a:lnTo>
                  <a:pt x="10651494" y="6151869"/>
                </a:lnTo>
                <a:lnTo>
                  <a:pt x="10650399" y="6152475"/>
                </a:lnTo>
                <a:lnTo>
                  <a:pt x="10648818" y="6152960"/>
                </a:lnTo>
                <a:lnTo>
                  <a:pt x="10647357" y="6153324"/>
                </a:lnTo>
                <a:lnTo>
                  <a:pt x="10645532" y="6153566"/>
                </a:lnTo>
                <a:lnTo>
                  <a:pt x="10643586" y="6153566"/>
                </a:lnTo>
                <a:lnTo>
                  <a:pt x="10641639" y="6153566"/>
                </a:lnTo>
                <a:lnTo>
                  <a:pt x="10639936" y="6153324"/>
                </a:lnTo>
                <a:lnTo>
                  <a:pt x="10638232" y="6152960"/>
                </a:lnTo>
                <a:lnTo>
                  <a:pt x="10636894" y="6152475"/>
                </a:lnTo>
                <a:lnTo>
                  <a:pt x="10635677" y="6151869"/>
                </a:lnTo>
                <a:lnTo>
                  <a:pt x="10634460" y="6151141"/>
                </a:lnTo>
                <a:lnTo>
                  <a:pt x="10633609" y="6150171"/>
                </a:lnTo>
                <a:lnTo>
                  <a:pt x="10632879" y="6149080"/>
                </a:lnTo>
                <a:lnTo>
                  <a:pt x="10632149" y="6147989"/>
                </a:lnTo>
                <a:lnTo>
                  <a:pt x="10631662" y="6146898"/>
                </a:lnTo>
                <a:lnTo>
                  <a:pt x="10631053" y="6145443"/>
                </a:lnTo>
                <a:lnTo>
                  <a:pt x="10630810" y="6144109"/>
                </a:lnTo>
                <a:lnTo>
                  <a:pt x="10630567" y="6142654"/>
                </a:lnTo>
                <a:lnTo>
                  <a:pt x="10630323" y="6140956"/>
                </a:lnTo>
                <a:lnTo>
                  <a:pt x="10630323" y="6139380"/>
                </a:lnTo>
                <a:lnTo>
                  <a:pt x="10630202" y="6137683"/>
                </a:lnTo>
                <a:lnTo>
                  <a:pt x="10630202" y="6098034"/>
                </a:lnTo>
                <a:close/>
                <a:moveTo>
                  <a:pt x="10205322" y="6098034"/>
                </a:moveTo>
                <a:lnTo>
                  <a:pt x="10205322" y="6172948"/>
                </a:lnTo>
                <a:lnTo>
                  <a:pt x="10232418" y="6172948"/>
                </a:lnTo>
                <a:lnTo>
                  <a:pt x="10232418" y="6098034"/>
                </a:lnTo>
                <a:close/>
                <a:moveTo>
                  <a:pt x="10581293" y="6096441"/>
                </a:moveTo>
                <a:lnTo>
                  <a:pt x="10579474" y="6096565"/>
                </a:lnTo>
                <a:lnTo>
                  <a:pt x="10577533" y="6096688"/>
                </a:lnTo>
                <a:lnTo>
                  <a:pt x="10575714" y="6096935"/>
                </a:lnTo>
                <a:lnTo>
                  <a:pt x="10573895" y="6097305"/>
                </a:lnTo>
                <a:lnTo>
                  <a:pt x="10572197" y="6097675"/>
                </a:lnTo>
                <a:lnTo>
                  <a:pt x="10570499" y="6098169"/>
                </a:lnTo>
                <a:lnTo>
                  <a:pt x="10568923" y="6099033"/>
                </a:lnTo>
                <a:lnTo>
                  <a:pt x="10567225" y="6099773"/>
                </a:lnTo>
                <a:lnTo>
                  <a:pt x="10565770" y="6100637"/>
                </a:lnTo>
                <a:lnTo>
                  <a:pt x="10564314" y="6101501"/>
                </a:lnTo>
                <a:lnTo>
                  <a:pt x="10562980" y="6102611"/>
                </a:lnTo>
                <a:lnTo>
                  <a:pt x="10561646" y="6103845"/>
                </a:lnTo>
                <a:lnTo>
                  <a:pt x="10560434" y="6105203"/>
                </a:lnTo>
                <a:lnTo>
                  <a:pt x="10559221" y="6106560"/>
                </a:lnTo>
                <a:lnTo>
                  <a:pt x="10558251" y="6108164"/>
                </a:lnTo>
                <a:lnTo>
                  <a:pt x="10557159" y="6109892"/>
                </a:lnTo>
                <a:lnTo>
                  <a:pt x="10556917" y="6109892"/>
                </a:lnTo>
                <a:lnTo>
                  <a:pt x="10556917" y="6097428"/>
                </a:lnTo>
                <a:lnTo>
                  <a:pt x="10530479" y="6097428"/>
                </a:lnTo>
                <a:lnTo>
                  <a:pt x="10530479" y="6172949"/>
                </a:lnTo>
                <a:lnTo>
                  <a:pt x="10556917" y="6172949"/>
                </a:lnTo>
                <a:lnTo>
                  <a:pt x="10556917" y="6142469"/>
                </a:lnTo>
                <a:lnTo>
                  <a:pt x="10556917" y="6140001"/>
                </a:lnTo>
                <a:lnTo>
                  <a:pt x="10557038" y="6137780"/>
                </a:lnTo>
                <a:lnTo>
                  <a:pt x="10557281" y="6135559"/>
                </a:lnTo>
                <a:lnTo>
                  <a:pt x="10557766" y="6133461"/>
                </a:lnTo>
                <a:lnTo>
                  <a:pt x="10558251" y="6131487"/>
                </a:lnTo>
                <a:lnTo>
                  <a:pt x="10558857" y="6129636"/>
                </a:lnTo>
                <a:lnTo>
                  <a:pt x="10559585" y="6127785"/>
                </a:lnTo>
                <a:lnTo>
                  <a:pt x="10560555" y="6126181"/>
                </a:lnTo>
                <a:lnTo>
                  <a:pt x="10561768" y="6124823"/>
                </a:lnTo>
                <a:lnTo>
                  <a:pt x="10562980" y="6123466"/>
                </a:lnTo>
                <a:lnTo>
                  <a:pt x="10563708" y="6122849"/>
                </a:lnTo>
                <a:lnTo>
                  <a:pt x="10564436" y="6122355"/>
                </a:lnTo>
                <a:lnTo>
                  <a:pt x="10565285" y="6121862"/>
                </a:lnTo>
                <a:lnTo>
                  <a:pt x="10566134" y="6121491"/>
                </a:lnTo>
                <a:lnTo>
                  <a:pt x="10567104" y="6121121"/>
                </a:lnTo>
                <a:lnTo>
                  <a:pt x="10568074" y="6120751"/>
                </a:lnTo>
                <a:lnTo>
                  <a:pt x="10569165" y="6120504"/>
                </a:lnTo>
                <a:lnTo>
                  <a:pt x="10570257" y="6120257"/>
                </a:lnTo>
                <a:lnTo>
                  <a:pt x="10572561" y="6119764"/>
                </a:lnTo>
                <a:lnTo>
                  <a:pt x="10575108" y="6119640"/>
                </a:lnTo>
                <a:lnTo>
                  <a:pt x="10576684" y="6119640"/>
                </a:lnTo>
                <a:lnTo>
                  <a:pt x="10578140" y="6119764"/>
                </a:lnTo>
                <a:lnTo>
                  <a:pt x="10579595" y="6119887"/>
                </a:lnTo>
                <a:lnTo>
                  <a:pt x="10580929" y="6120257"/>
                </a:lnTo>
                <a:lnTo>
                  <a:pt x="10582263" y="6120504"/>
                </a:lnTo>
                <a:lnTo>
                  <a:pt x="10583718" y="6120998"/>
                </a:lnTo>
                <a:lnTo>
                  <a:pt x="10585052" y="6121491"/>
                </a:lnTo>
                <a:lnTo>
                  <a:pt x="10586265" y="6122232"/>
                </a:lnTo>
                <a:lnTo>
                  <a:pt x="10586265" y="6096441"/>
                </a:lnTo>
                <a:close/>
                <a:moveTo>
                  <a:pt x="10107793" y="6096441"/>
                </a:moveTo>
                <a:lnTo>
                  <a:pt x="10105977" y="6096565"/>
                </a:lnTo>
                <a:lnTo>
                  <a:pt x="10104041" y="6096688"/>
                </a:lnTo>
                <a:lnTo>
                  <a:pt x="10102105" y="6096935"/>
                </a:lnTo>
                <a:lnTo>
                  <a:pt x="10100411" y="6097305"/>
                </a:lnTo>
                <a:lnTo>
                  <a:pt x="10098717" y="6097675"/>
                </a:lnTo>
                <a:lnTo>
                  <a:pt x="10097023" y="6098169"/>
                </a:lnTo>
                <a:lnTo>
                  <a:pt x="10095449" y="6099033"/>
                </a:lnTo>
                <a:lnTo>
                  <a:pt x="10093755" y="6099773"/>
                </a:lnTo>
                <a:lnTo>
                  <a:pt x="10092303" y="6100637"/>
                </a:lnTo>
                <a:lnTo>
                  <a:pt x="10090851" y="6101501"/>
                </a:lnTo>
                <a:lnTo>
                  <a:pt x="10089520" y="6102611"/>
                </a:lnTo>
                <a:lnTo>
                  <a:pt x="10088310" y="6103845"/>
                </a:lnTo>
                <a:lnTo>
                  <a:pt x="10086979" y="6105203"/>
                </a:lnTo>
                <a:lnTo>
                  <a:pt x="10085769" y="6106560"/>
                </a:lnTo>
                <a:lnTo>
                  <a:pt x="10084800" y="6108164"/>
                </a:lnTo>
                <a:lnTo>
                  <a:pt x="10083711" y="6109892"/>
                </a:lnTo>
                <a:lnTo>
                  <a:pt x="10083469" y="6109892"/>
                </a:lnTo>
                <a:lnTo>
                  <a:pt x="10083469" y="6097428"/>
                </a:lnTo>
                <a:lnTo>
                  <a:pt x="10057089" y="6097428"/>
                </a:lnTo>
                <a:lnTo>
                  <a:pt x="10057089" y="6172949"/>
                </a:lnTo>
                <a:lnTo>
                  <a:pt x="10083469" y="6172949"/>
                </a:lnTo>
                <a:lnTo>
                  <a:pt x="10083469" y="6142469"/>
                </a:lnTo>
                <a:lnTo>
                  <a:pt x="10083469" y="6140001"/>
                </a:lnTo>
                <a:lnTo>
                  <a:pt x="10083590" y="6137780"/>
                </a:lnTo>
                <a:lnTo>
                  <a:pt x="10083832" y="6135559"/>
                </a:lnTo>
                <a:lnTo>
                  <a:pt x="10084316" y="6133461"/>
                </a:lnTo>
                <a:lnTo>
                  <a:pt x="10084800" y="6131487"/>
                </a:lnTo>
                <a:lnTo>
                  <a:pt x="10085406" y="6129636"/>
                </a:lnTo>
                <a:lnTo>
                  <a:pt x="10086132" y="6127785"/>
                </a:lnTo>
                <a:lnTo>
                  <a:pt x="10087100" y="6126181"/>
                </a:lnTo>
                <a:lnTo>
                  <a:pt x="10088310" y="6124823"/>
                </a:lnTo>
                <a:lnTo>
                  <a:pt x="10089520" y="6123466"/>
                </a:lnTo>
                <a:lnTo>
                  <a:pt x="10090246" y="6122849"/>
                </a:lnTo>
                <a:lnTo>
                  <a:pt x="10090972" y="6122355"/>
                </a:lnTo>
                <a:lnTo>
                  <a:pt x="10091819" y="6121862"/>
                </a:lnTo>
                <a:lnTo>
                  <a:pt x="10092666" y="6121491"/>
                </a:lnTo>
                <a:lnTo>
                  <a:pt x="10093634" y="6121121"/>
                </a:lnTo>
                <a:lnTo>
                  <a:pt x="10094481" y="6120751"/>
                </a:lnTo>
                <a:lnTo>
                  <a:pt x="10095691" y="6120504"/>
                </a:lnTo>
                <a:lnTo>
                  <a:pt x="10096781" y="6120257"/>
                </a:lnTo>
                <a:lnTo>
                  <a:pt x="10099080" y="6119764"/>
                </a:lnTo>
                <a:lnTo>
                  <a:pt x="10101621" y="6119640"/>
                </a:lnTo>
                <a:lnTo>
                  <a:pt x="10103194" y="6119640"/>
                </a:lnTo>
                <a:lnTo>
                  <a:pt x="10104646" y="6119764"/>
                </a:lnTo>
                <a:lnTo>
                  <a:pt x="10106098" y="6119887"/>
                </a:lnTo>
                <a:lnTo>
                  <a:pt x="10107430" y="6120257"/>
                </a:lnTo>
                <a:lnTo>
                  <a:pt x="10108761" y="6120504"/>
                </a:lnTo>
                <a:lnTo>
                  <a:pt x="10110213" y="6120998"/>
                </a:lnTo>
                <a:lnTo>
                  <a:pt x="10111544" y="6121491"/>
                </a:lnTo>
                <a:lnTo>
                  <a:pt x="10112875" y="6122232"/>
                </a:lnTo>
                <a:lnTo>
                  <a:pt x="10112875" y="6096441"/>
                </a:lnTo>
                <a:close/>
                <a:moveTo>
                  <a:pt x="11054828" y="6094847"/>
                </a:moveTo>
                <a:lnTo>
                  <a:pt x="11052986" y="6094971"/>
                </a:lnTo>
                <a:lnTo>
                  <a:pt x="11051144" y="6095219"/>
                </a:lnTo>
                <a:lnTo>
                  <a:pt x="11049425" y="6095466"/>
                </a:lnTo>
                <a:lnTo>
                  <a:pt x="11047706" y="6095837"/>
                </a:lnTo>
                <a:lnTo>
                  <a:pt x="11046110" y="6096209"/>
                </a:lnTo>
                <a:lnTo>
                  <a:pt x="11044513" y="6096828"/>
                </a:lnTo>
                <a:lnTo>
                  <a:pt x="11043040" y="6097447"/>
                </a:lnTo>
                <a:lnTo>
                  <a:pt x="11041566" y="6098189"/>
                </a:lnTo>
                <a:lnTo>
                  <a:pt x="11040093" y="6099179"/>
                </a:lnTo>
                <a:lnTo>
                  <a:pt x="11038865" y="6100170"/>
                </a:lnTo>
                <a:lnTo>
                  <a:pt x="11037391" y="6101284"/>
                </a:lnTo>
                <a:lnTo>
                  <a:pt x="11036163" y="6102398"/>
                </a:lnTo>
                <a:lnTo>
                  <a:pt x="11034935" y="6103883"/>
                </a:lnTo>
                <a:lnTo>
                  <a:pt x="11033707" y="6105368"/>
                </a:lnTo>
                <a:lnTo>
                  <a:pt x="11032479" y="6106977"/>
                </a:lnTo>
                <a:lnTo>
                  <a:pt x="11032234" y="6106977"/>
                </a:lnTo>
                <a:lnTo>
                  <a:pt x="11032234" y="6097199"/>
                </a:lnTo>
                <a:lnTo>
                  <a:pt x="11005464" y="6097199"/>
                </a:lnTo>
                <a:lnTo>
                  <a:pt x="11005464" y="6172949"/>
                </a:lnTo>
                <a:lnTo>
                  <a:pt x="11032234" y="6172949"/>
                </a:lnTo>
                <a:lnTo>
                  <a:pt x="11032234" y="6133713"/>
                </a:lnTo>
                <a:lnTo>
                  <a:pt x="11032234" y="6131856"/>
                </a:lnTo>
                <a:lnTo>
                  <a:pt x="11032356" y="6130247"/>
                </a:lnTo>
                <a:lnTo>
                  <a:pt x="11032602" y="6128514"/>
                </a:lnTo>
                <a:lnTo>
                  <a:pt x="11032848" y="6126905"/>
                </a:lnTo>
                <a:lnTo>
                  <a:pt x="11033216" y="6125420"/>
                </a:lnTo>
                <a:lnTo>
                  <a:pt x="11033707" y="6123934"/>
                </a:lnTo>
                <a:lnTo>
                  <a:pt x="11034444" y="6122573"/>
                </a:lnTo>
                <a:lnTo>
                  <a:pt x="11035181" y="6121335"/>
                </a:lnTo>
                <a:lnTo>
                  <a:pt x="11036040" y="6120345"/>
                </a:lnTo>
                <a:lnTo>
                  <a:pt x="11037023" y="6119107"/>
                </a:lnTo>
                <a:lnTo>
                  <a:pt x="11038251" y="6118241"/>
                </a:lnTo>
                <a:lnTo>
                  <a:pt x="11039479" y="6117622"/>
                </a:lnTo>
                <a:lnTo>
                  <a:pt x="11040829" y="6117003"/>
                </a:lnTo>
                <a:lnTo>
                  <a:pt x="11042549" y="6116508"/>
                </a:lnTo>
                <a:lnTo>
                  <a:pt x="11044268" y="6116260"/>
                </a:lnTo>
                <a:lnTo>
                  <a:pt x="11046355" y="6116137"/>
                </a:lnTo>
                <a:lnTo>
                  <a:pt x="11047460" y="6116260"/>
                </a:lnTo>
                <a:lnTo>
                  <a:pt x="11048566" y="6116384"/>
                </a:lnTo>
                <a:lnTo>
                  <a:pt x="11049671" y="6116508"/>
                </a:lnTo>
                <a:lnTo>
                  <a:pt x="11050653" y="6116755"/>
                </a:lnTo>
                <a:lnTo>
                  <a:pt x="11051513" y="6117003"/>
                </a:lnTo>
                <a:lnTo>
                  <a:pt x="11052250" y="6117374"/>
                </a:lnTo>
                <a:lnTo>
                  <a:pt x="11053109" y="6117746"/>
                </a:lnTo>
                <a:lnTo>
                  <a:pt x="11053846" y="6118241"/>
                </a:lnTo>
                <a:lnTo>
                  <a:pt x="11054337" y="6118736"/>
                </a:lnTo>
                <a:lnTo>
                  <a:pt x="11054951" y="6119231"/>
                </a:lnTo>
                <a:lnTo>
                  <a:pt x="11055442" y="6119850"/>
                </a:lnTo>
                <a:lnTo>
                  <a:pt x="11055933" y="6120592"/>
                </a:lnTo>
                <a:lnTo>
                  <a:pt x="11056793" y="6121954"/>
                </a:lnTo>
                <a:lnTo>
                  <a:pt x="11057284" y="6123315"/>
                </a:lnTo>
                <a:lnTo>
                  <a:pt x="11057775" y="6125048"/>
                </a:lnTo>
                <a:lnTo>
                  <a:pt x="11058021" y="6126534"/>
                </a:lnTo>
                <a:lnTo>
                  <a:pt x="11058267" y="6128143"/>
                </a:lnTo>
                <a:lnTo>
                  <a:pt x="11058389" y="6129876"/>
                </a:lnTo>
                <a:lnTo>
                  <a:pt x="11058389" y="6133217"/>
                </a:lnTo>
                <a:lnTo>
                  <a:pt x="11058389" y="6136064"/>
                </a:lnTo>
                <a:lnTo>
                  <a:pt x="11058389" y="6172949"/>
                </a:lnTo>
                <a:lnTo>
                  <a:pt x="11085159" y="6172949"/>
                </a:lnTo>
                <a:lnTo>
                  <a:pt x="11085159" y="6126162"/>
                </a:lnTo>
                <a:lnTo>
                  <a:pt x="11085036" y="6122697"/>
                </a:lnTo>
                <a:lnTo>
                  <a:pt x="11084791" y="6119478"/>
                </a:lnTo>
                <a:lnTo>
                  <a:pt x="11084299" y="6116384"/>
                </a:lnTo>
                <a:lnTo>
                  <a:pt x="11083563" y="6113413"/>
                </a:lnTo>
                <a:lnTo>
                  <a:pt x="11083194" y="6112052"/>
                </a:lnTo>
                <a:lnTo>
                  <a:pt x="11082703" y="6110690"/>
                </a:lnTo>
                <a:lnTo>
                  <a:pt x="11082089" y="6109329"/>
                </a:lnTo>
                <a:lnTo>
                  <a:pt x="11081475" y="6108091"/>
                </a:lnTo>
                <a:lnTo>
                  <a:pt x="11080861" y="6106853"/>
                </a:lnTo>
                <a:lnTo>
                  <a:pt x="11080124" y="6105739"/>
                </a:lnTo>
                <a:lnTo>
                  <a:pt x="11079388" y="6104625"/>
                </a:lnTo>
                <a:lnTo>
                  <a:pt x="11078651" y="6103511"/>
                </a:lnTo>
                <a:lnTo>
                  <a:pt x="11077668" y="6102521"/>
                </a:lnTo>
                <a:lnTo>
                  <a:pt x="11076686" y="6101531"/>
                </a:lnTo>
                <a:lnTo>
                  <a:pt x="11075704" y="6100665"/>
                </a:lnTo>
                <a:lnTo>
                  <a:pt x="11074598" y="6099922"/>
                </a:lnTo>
                <a:lnTo>
                  <a:pt x="11073493" y="6099056"/>
                </a:lnTo>
                <a:lnTo>
                  <a:pt x="11072388" y="6098313"/>
                </a:lnTo>
                <a:lnTo>
                  <a:pt x="11071037" y="6097694"/>
                </a:lnTo>
                <a:lnTo>
                  <a:pt x="11069687" y="6097075"/>
                </a:lnTo>
                <a:lnTo>
                  <a:pt x="11068336" y="6096580"/>
                </a:lnTo>
                <a:lnTo>
                  <a:pt x="11066862" y="6096085"/>
                </a:lnTo>
                <a:lnTo>
                  <a:pt x="11065389" y="6095714"/>
                </a:lnTo>
                <a:lnTo>
                  <a:pt x="11063915" y="6095466"/>
                </a:lnTo>
                <a:lnTo>
                  <a:pt x="11062073" y="6095219"/>
                </a:lnTo>
                <a:lnTo>
                  <a:pt x="11060477" y="6094971"/>
                </a:lnTo>
                <a:lnTo>
                  <a:pt x="11058635" y="6094847"/>
                </a:lnTo>
                <a:lnTo>
                  <a:pt x="11056793" y="6094847"/>
                </a:lnTo>
                <a:close/>
                <a:moveTo>
                  <a:pt x="10946735" y="6094847"/>
                </a:moveTo>
                <a:lnTo>
                  <a:pt x="10944405" y="6094970"/>
                </a:lnTo>
                <a:lnTo>
                  <a:pt x="10942198" y="6095092"/>
                </a:lnTo>
                <a:lnTo>
                  <a:pt x="10939991" y="6095215"/>
                </a:lnTo>
                <a:lnTo>
                  <a:pt x="10937784" y="6095583"/>
                </a:lnTo>
                <a:lnTo>
                  <a:pt x="10935700" y="6095951"/>
                </a:lnTo>
                <a:lnTo>
                  <a:pt x="10933616" y="6096319"/>
                </a:lnTo>
                <a:lnTo>
                  <a:pt x="10931777" y="6096932"/>
                </a:lnTo>
                <a:lnTo>
                  <a:pt x="10929815" y="6097545"/>
                </a:lnTo>
                <a:lnTo>
                  <a:pt x="10927976" y="6098280"/>
                </a:lnTo>
                <a:lnTo>
                  <a:pt x="10926137" y="6099139"/>
                </a:lnTo>
                <a:lnTo>
                  <a:pt x="10924420" y="6099997"/>
                </a:lnTo>
                <a:lnTo>
                  <a:pt x="10922704" y="6100855"/>
                </a:lnTo>
                <a:lnTo>
                  <a:pt x="10921110" y="6101958"/>
                </a:lnTo>
                <a:lnTo>
                  <a:pt x="10919393" y="6103062"/>
                </a:lnTo>
                <a:lnTo>
                  <a:pt x="10918044" y="6104288"/>
                </a:lnTo>
                <a:lnTo>
                  <a:pt x="10916696" y="6105514"/>
                </a:lnTo>
                <a:lnTo>
                  <a:pt x="10915224" y="6106740"/>
                </a:lnTo>
                <a:lnTo>
                  <a:pt x="10913998" y="6108211"/>
                </a:lnTo>
                <a:lnTo>
                  <a:pt x="10912772" y="6109683"/>
                </a:lnTo>
                <a:lnTo>
                  <a:pt x="10911669" y="6111154"/>
                </a:lnTo>
                <a:lnTo>
                  <a:pt x="10910565" y="6112871"/>
                </a:lnTo>
                <a:lnTo>
                  <a:pt x="10909707" y="6114464"/>
                </a:lnTo>
                <a:lnTo>
                  <a:pt x="10908849" y="6116304"/>
                </a:lnTo>
                <a:lnTo>
                  <a:pt x="10907991" y="6118020"/>
                </a:lnTo>
                <a:lnTo>
                  <a:pt x="10907255" y="6119982"/>
                </a:lnTo>
                <a:lnTo>
                  <a:pt x="10906642" y="6121944"/>
                </a:lnTo>
                <a:lnTo>
                  <a:pt x="10906151" y="6123783"/>
                </a:lnTo>
                <a:lnTo>
                  <a:pt x="10905784" y="6125990"/>
                </a:lnTo>
                <a:lnTo>
                  <a:pt x="10905416" y="6128074"/>
                </a:lnTo>
                <a:lnTo>
                  <a:pt x="10905171" y="6130281"/>
                </a:lnTo>
                <a:lnTo>
                  <a:pt x="10905048" y="6132488"/>
                </a:lnTo>
                <a:lnTo>
                  <a:pt x="10905048" y="6134817"/>
                </a:lnTo>
                <a:lnTo>
                  <a:pt x="10905048" y="6137270"/>
                </a:lnTo>
                <a:lnTo>
                  <a:pt x="10905171" y="6139476"/>
                </a:lnTo>
                <a:lnTo>
                  <a:pt x="10905416" y="6141806"/>
                </a:lnTo>
                <a:lnTo>
                  <a:pt x="10905784" y="6143890"/>
                </a:lnTo>
                <a:lnTo>
                  <a:pt x="10906274" y="6146097"/>
                </a:lnTo>
                <a:lnTo>
                  <a:pt x="10906887" y="6148059"/>
                </a:lnTo>
                <a:lnTo>
                  <a:pt x="10907500" y="6150021"/>
                </a:lnTo>
                <a:lnTo>
                  <a:pt x="10908236" y="6151860"/>
                </a:lnTo>
                <a:lnTo>
                  <a:pt x="10909094" y="6153699"/>
                </a:lnTo>
                <a:lnTo>
                  <a:pt x="10910075" y="6155415"/>
                </a:lnTo>
                <a:lnTo>
                  <a:pt x="10911056" y="6157132"/>
                </a:lnTo>
                <a:lnTo>
                  <a:pt x="10912282" y="6158726"/>
                </a:lnTo>
                <a:lnTo>
                  <a:pt x="10913385" y="6160197"/>
                </a:lnTo>
                <a:lnTo>
                  <a:pt x="10914611" y="6161668"/>
                </a:lnTo>
                <a:lnTo>
                  <a:pt x="10916083" y="6163140"/>
                </a:lnTo>
                <a:lnTo>
                  <a:pt x="10917431" y="6164366"/>
                </a:lnTo>
                <a:lnTo>
                  <a:pt x="10918903" y="6165469"/>
                </a:lnTo>
                <a:lnTo>
                  <a:pt x="10920497" y="6166818"/>
                </a:lnTo>
                <a:lnTo>
                  <a:pt x="10922091" y="6167799"/>
                </a:lnTo>
                <a:lnTo>
                  <a:pt x="10923807" y="6168780"/>
                </a:lnTo>
                <a:lnTo>
                  <a:pt x="10925524" y="6169638"/>
                </a:lnTo>
                <a:lnTo>
                  <a:pt x="10927485" y="6170496"/>
                </a:lnTo>
                <a:lnTo>
                  <a:pt x="10929324" y="6171354"/>
                </a:lnTo>
                <a:lnTo>
                  <a:pt x="10931286" y="6171967"/>
                </a:lnTo>
                <a:lnTo>
                  <a:pt x="10933248" y="6172581"/>
                </a:lnTo>
                <a:lnTo>
                  <a:pt x="10935332" y="6173071"/>
                </a:lnTo>
                <a:lnTo>
                  <a:pt x="10937294" y="6173561"/>
                </a:lnTo>
                <a:lnTo>
                  <a:pt x="10939501" y="6173929"/>
                </a:lnTo>
                <a:lnTo>
                  <a:pt x="10941708" y="6174174"/>
                </a:lnTo>
                <a:lnTo>
                  <a:pt x="10943915" y="6174297"/>
                </a:lnTo>
                <a:lnTo>
                  <a:pt x="10946244" y="6174420"/>
                </a:lnTo>
                <a:lnTo>
                  <a:pt x="10948574" y="6174542"/>
                </a:lnTo>
                <a:lnTo>
                  <a:pt x="10951762" y="6174420"/>
                </a:lnTo>
                <a:lnTo>
                  <a:pt x="10954949" y="6174174"/>
                </a:lnTo>
                <a:lnTo>
                  <a:pt x="10958137" y="6173684"/>
                </a:lnTo>
                <a:lnTo>
                  <a:pt x="10961202" y="6173071"/>
                </a:lnTo>
                <a:lnTo>
                  <a:pt x="10964268" y="6172213"/>
                </a:lnTo>
                <a:lnTo>
                  <a:pt x="10967088" y="6171109"/>
                </a:lnTo>
                <a:lnTo>
                  <a:pt x="10969908" y="6169761"/>
                </a:lnTo>
                <a:lnTo>
                  <a:pt x="10972605" y="6168289"/>
                </a:lnTo>
                <a:lnTo>
                  <a:pt x="10973831" y="6167554"/>
                </a:lnTo>
                <a:lnTo>
                  <a:pt x="10975180" y="6166573"/>
                </a:lnTo>
                <a:lnTo>
                  <a:pt x="10976283" y="6165714"/>
                </a:lnTo>
                <a:lnTo>
                  <a:pt x="10977387" y="6164734"/>
                </a:lnTo>
                <a:lnTo>
                  <a:pt x="10978490" y="6163753"/>
                </a:lnTo>
                <a:lnTo>
                  <a:pt x="10979594" y="6162649"/>
                </a:lnTo>
                <a:lnTo>
                  <a:pt x="10980575" y="6161423"/>
                </a:lnTo>
                <a:lnTo>
                  <a:pt x="10981433" y="6160320"/>
                </a:lnTo>
                <a:lnTo>
                  <a:pt x="10982291" y="6159094"/>
                </a:lnTo>
                <a:lnTo>
                  <a:pt x="10983272" y="6157745"/>
                </a:lnTo>
                <a:lnTo>
                  <a:pt x="10984008" y="6156396"/>
                </a:lnTo>
                <a:lnTo>
                  <a:pt x="10984621" y="6155048"/>
                </a:lnTo>
                <a:lnTo>
                  <a:pt x="10985356" y="6153576"/>
                </a:lnTo>
                <a:lnTo>
                  <a:pt x="10985847" y="6152105"/>
                </a:lnTo>
                <a:lnTo>
                  <a:pt x="10986460" y="6150511"/>
                </a:lnTo>
                <a:lnTo>
                  <a:pt x="10986950" y="6148795"/>
                </a:lnTo>
                <a:lnTo>
                  <a:pt x="10961202" y="6148795"/>
                </a:lnTo>
                <a:lnTo>
                  <a:pt x="10960712" y="6149775"/>
                </a:lnTo>
                <a:lnTo>
                  <a:pt x="10959976" y="6150634"/>
                </a:lnTo>
                <a:lnTo>
                  <a:pt x="10959363" y="6151369"/>
                </a:lnTo>
                <a:lnTo>
                  <a:pt x="10958750" y="6152105"/>
                </a:lnTo>
                <a:lnTo>
                  <a:pt x="10958137" y="6152718"/>
                </a:lnTo>
                <a:lnTo>
                  <a:pt x="10957402" y="6153209"/>
                </a:lnTo>
                <a:lnTo>
                  <a:pt x="10956666" y="6153699"/>
                </a:lnTo>
                <a:lnTo>
                  <a:pt x="10955808" y="6154312"/>
                </a:lnTo>
                <a:lnTo>
                  <a:pt x="10955072" y="6154680"/>
                </a:lnTo>
                <a:lnTo>
                  <a:pt x="10954214" y="6154925"/>
                </a:lnTo>
                <a:lnTo>
                  <a:pt x="10953356" y="6155293"/>
                </a:lnTo>
                <a:lnTo>
                  <a:pt x="10952375" y="6155415"/>
                </a:lnTo>
                <a:lnTo>
                  <a:pt x="10950536" y="6155783"/>
                </a:lnTo>
                <a:lnTo>
                  <a:pt x="10948329" y="6155783"/>
                </a:lnTo>
                <a:lnTo>
                  <a:pt x="10946490" y="6155783"/>
                </a:lnTo>
                <a:lnTo>
                  <a:pt x="10944528" y="6155538"/>
                </a:lnTo>
                <a:lnTo>
                  <a:pt x="10942811" y="6155293"/>
                </a:lnTo>
                <a:lnTo>
                  <a:pt x="10941095" y="6154802"/>
                </a:lnTo>
                <a:lnTo>
                  <a:pt x="10939623" y="6154189"/>
                </a:lnTo>
                <a:lnTo>
                  <a:pt x="10938397" y="6153331"/>
                </a:lnTo>
                <a:lnTo>
                  <a:pt x="10937049" y="6152473"/>
                </a:lnTo>
                <a:lnTo>
                  <a:pt x="10935945" y="6151615"/>
                </a:lnTo>
                <a:lnTo>
                  <a:pt x="10934964" y="6150511"/>
                </a:lnTo>
                <a:lnTo>
                  <a:pt x="10933983" y="6149162"/>
                </a:lnTo>
                <a:lnTo>
                  <a:pt x="10933370" y="6147814"/>
                </a:lnTo>
                <a:lnTo>
                  <a:pt x="10932757" y="6146342"/>
                </a:lnTo>
                <a:lnTo>
                  <a:pt x="10932267" y="6144749"/>
                </a:lnTo>
                <a:lnTo>
                  <a:pt x="10932022" y="6143032"/>
                </a:lnTo>
                <a:lnTo>
                  <a:pt x="10931777" y="6141193"/>
                </a:lnTo>
                <a:lnTo>
                  <a:pt x="10931777" y="6139231"/>
                </a:lnTo>
                <a:lnTo>
                  <a:pt x="10987931" y="6139231"/>
                </a:lnTo>
                <a:lnTo>
                  <a:pt x="10987931" y="6136411"/>
                </a:lnTo>
                <a:lnTo>
                  <a:pt x="10987808" y="6134082"/>
                </a:lnTo>
                <a:lnTo>
                  <a:pt x="10987686" y="6131752"/>
                </a:lnTo>
                <a:lnTo>
                  <a:pt x="10987441" y="6129545"/>
                </a:lnTo>
                <a:lnTo>
                  <a:pt x="10987195" y="6127338"/>
                </a:lnTo>
                <a:lnTo>
                  <a:pt x="10986828" y="6125254"/>
                </a:lnTo>
                <a:lnTo>
                  <a:pt x="10986337" y="6123047"/>
                </a:lnTo>
                <a:lnTo>
                  <a:pt x="10985724" y="6121085"/>
                </a:lnTo>
                <a:lnTo>
                  <a:pt x="10985111" y="6119124"/>
                </a:lnTo>
                <a:lnTo>
                  <a:pt x="10984375" y="6117284"/>
                </a:lnTo>
                <a:lnTo>
                  <a:pt x="10983640" y="6115568"/>
                </a:lnTo>
                <a:lnTo>
                  <a:pt x="10982781" y="6113729"/>
                </a:lnTo>
                <a:lnTo>
                  <a:pt x="10981678" y="6112135"/>
                </a:lnTo>
                <a:lnTo>
                  <a:pt x="10980697" y="6110418"/>
                </a:lnTo>
                <a:lnTo>
                  <a:pt x="10979594" y="6108947"/>
                </a:lnTo>
                <a:lnTo>
                  <a:pt x="10978245" y="6107476"/>
                </a:lnTo>
                <a:lnTo>
                  <a:pt x="10977019" y="6106005"/>
                </a:lnTo>
                <a:lnTo>
                  <a:pt x="10975793" y="6104778"/>
                </a:lnTo>
                <a:lnTo>
                  <a:pt x="10974199" y="6103552"/>
                </a:lnTo>
                <a:lnTo>
                  <a:pt x="10972728" y="6102326"/>
                </a:lnTo>
                <a:lnTo>
                  <a:pt x="10971134" y="6101223"/>
                </a:lnTo>
                <a:lnTo>
                  <a:pt x="10969540" y="6100242"/>
                </a:lnTo>
                <a:lnTo>
                  <a:pt x="10967823" y="6099384"/>
                </a:lnTo>
                <a:lnTo>
                  <a:pt x="10965984" y="6098525"/>
                </a:lnTo>
                <a:lnTo>
                  <a:pt x="10964145" y="6097667"/>
                </a:lnTo>
                <a:lnTo>
                  <a:pt x="10962183" y="6097054"/>
                </a:lnTo>
                <a:lnTo>
                  <a:pt x="10960099" y="6096441"/>
                </a:lnTo>
                <a:lnTo>
                  <a:pt x="10958137" y="6095951"/>
                </a:lnTo>
                <a:lnTo>
                  <a:pt x="10955930" y="6095583"/>
                </a:lnTo>
                <a:lnTo>
                  <a:pt x="10953723" y="6095215"/>
                </a:lnTo>
                <a:lnTo>
                  <a:pt x="10951394" y="6095092"/>
                </a:lnTo>
                <a:lnTo>
                  <a:pt x="10949064" y="6094970"/>
                </a:lnTo>
                <a:close/>
                <a:moveTo>
                  <a:pt x="10838417" y="6094847"/>
                </a:moveTo>
                <a:lnTo>
                  <a:pt x="10836213" y="6094970"/>
                </a:lnTo>
                <a:lnTo>
                  <a:pt x="10834254" y="6095092"/>
                </a:lnTo>
                <a:lnTo>
                  <a:pt x="10832051" y="6095337"/>
                </a:lnTo>
                <a:lnTo>
                  <a:pt x="10830092" y="6095705"/>
                </a:lnTo>
                <a:lnTo>
                  <a:pt x="10828133" y="6096194"/>
                </a:lnTo>
                <a:lnTo>
                  <a:pt x="10826174" y="6096684"/>
                </a:lnTo>
                <a:lnTo>
                  <a:pt x="10824460" y="6097297"/>
                </a:lnTo>
                <a:lnTo>
                  <a:pt x="10822623" y="6098032"/>
                </a:lnTo>
                <a:lnTo>
                  <a:pt x="10820909" y="6099011"/>
                </a:lnTo>
                <a:lnTo>
                  <a:pt x="10819195" y="6099869"/>
                </a:lnTo>
                <a:lnTo>
                  <a:pt x="10817603" y="6100849"/>
                </a:lnTo>
                <a:lnTo>
                  <a:pt x="10816134" y="6101828"/>
                </a:lnTo>
                <a:lnTo>
                  <a:pt x="10814542" y="6103053"/>
                </a:lnTo>
                <a:lnTo>
                  <a:pt x="10813195" y="6104278"/>
                </a:lnTo>
                <a:lnTo>
                  <a:pt x="10811726" y="6105503"/>
                </a:lnTo>
                <a:lnTo>
                  <a:pt x="10810502" y="6106850"/>
                </a:lnTo>
                <a:lnTo>
                  <a:pt x="10809278" y="6108320"/>
                </a:lnTo>
                <a:lnTo>
                  <a:pt x="10808053" y="6109789"/>
                </a:lnTo>
                <a:lnTo>
                  <a:pt x="10806951" y="6111382"/>
                </a:lnTo>
                <a:lnTo>
                  <a:pt x="10805972" y="6112974"/>
                </a:lnTo>
                <a:lnTo>
                  <a:pt x="10805115" y="6114566"/>
                </a:lnTo>
                <a:lnTo>
                  <a:pt x="10804135" y="6116281"/>
                </a:lnTo>
                <a:lnTo>
                  <a:pt x="10803401" y="6117995"/>
                </a:lnTo>
                <a:lnTo>
                  <a:pt x="10802666" y="6119833"/>
                </a:lnTo>
                <a:lnTo>
                  <a:pt x="10802054" y="6121670"/>
                </a:lnTo>
                <a:lnTo>
                  <a:pt x="10801442" y="6123507"/>
                </a:lnTo>
                <a:lnTo>
                  <a:pt x="10801074" y="6125467"/>
                </a:lnTo>
                <a:lnTo>
                  <a:pt x="10800585" y="6127304"/>
                </a:lnTo>
                <a:lnTo>
                  <a:pt x="10800217" y="6129386"/>
                </a:lnTo>
                <a:lnTo>
                  <a:pt x="10799972" y="6131345"/>
                </a:lnTo>
                <a:lnTo>
                  <a:pt x="10799850" y="6133428"/>
                </a:lnTo>
                <a:lnTo>
                  <a:pt x="10799850" y="6135387"/>
                </a:lnTo>
                <a:lnTo>
                  <a:pt x="10799850" y="6137469"/>
                </a:lnTo>
                <a:lnTo>
                  <a:pt x="10799972" y="6139306"/>
                </a:lnTo>
                <a:lnTo>
                  <a:pt x="10800217" y="6141389"/>
                </a:lnTo>
                <a:lnTo>
                  <a:pt x="10800462" y="6143226"/>
                </a:lnTo>
                <a:lnTo>
                  <a:pt x="10800952" y="6145063"/>
                </a:lnTo>
                <a:lnTo>
                  <a:pt x="10801442" y="6146900"/>
                </a:lnTo>
                <a:lnTo>
                  <a:pt x="10801931" y="6148615"/>
                </a:lnTo>
                <a:lnTo>
                  <a:pt x="10802544" y="6150452"/>
                </a:lnTo>
                <a:lnTo>
                  <a:pt x="10803278" y="6152167"/>
                </a:lnTo>
                <a:lnTo>
                  <a:pt x="10804013" y="6153759"/>
                </a:lnTo>
                <a:lnTo>
                  <a:pt x="10804870" y="6155351"/>
                </a:lnTo>
                <a:lnTo>
                  <a:pt x="10805849" y="6156821"/>
                </a:lnTo>
                <a:lnTo>
                  <a:pt x="10806706" y="6158413"/>
                </a:lnTo>
                <a:lnTo>
                  <a:pt x="10807808" y="6159883"/>
                </a:lnTo>
                <a:lnTo>
                  <a:pt x="10809033" y="6161230"/>
                </a:lnTo>
                <a:lnTo>
                  <a:pt x="10810135" y="6162577"/>
                </a:lnTo>
                <a:lnTo>
                  <a:pt x="10811359" y="6163802"/>
                </a:lnTo>
                <a:lnTo>
                  <a:pt x="10812706" y="6164904"/>
                </a:lnTo>
                <a:lnTo>
                  <a:pt x="10814053" y="6166006"/>
                </a:lnTo>
                <a:lnTo>
                  <a:pt x="10815522" y="6167109"/>
                </a:lnTo>
                <a:lnTo>
                  <a:pt x="10816991" y="6168089"/>
                </a:lnTo>
                <a:lnTo>
                  <a:pt x="10818583" y="6168946"/>
                </a:lnTo>
                <a:lnTo>
                  <a:pt x="10820174" y="6169803"/>
                </a:lnTo>
                <a:lnTo>
                  <a:pt x="10821766" y="6170538"/>
                </a:lnTo>
                <a:lnTo>
                  <a:pt x="10823603" y="6171273"/>
                </a:lnTo>
                <a:lnTo>
                  <a:pt x="10825317" y="6171885"/>
                </a:lnTo>
                <a:lnTo>
                  <a:pt x="10827153" y="6172375"/>
                </a:lnTo>
                <a:lnTo>
                  <a:pt x="10828990" y="6172743"/>
                </a:lnTo>
                <a:lnTo>
                  <a:pt x="10830949" y="6173110"/>
                </a:lnTo>
                <a:lnTo>
                  <a:pt x="10832785" y="6173355"/>
                </a:lnTo>
                <a:lnTo>
                  <a:pt x="10834867" y="6173478"/>
                </a:lnTo>
                <a:lnTo>
                  <a:pt x="10836826" y="6173478"/>
                </a:lnTo>
                <a:lnTo>
                  <a:pt x="10838785" y="6173478"/>
                </a:lnTo>
                <a:lnTo>
                  <a:pt x="10840499" y="6173355"/>
                </a:lnTo>
                <a:lnTo>
                  <a:pt x="10842213" y="6173110"/>
                </a:lnTo>
                <a:lnTo>
                  <a:pt x="10843927" y="6172865"/>
                </a:lnTo>
                <a:lnTo>
                  <a:pt x="10845519" y="6172498"/>
                </a:lnTo>
                <a:lnTo>
                  <a:pt x="10847110" y="6172130"/>
                </a:lnTo>
                <a:lnTo>
                  <a:pt x="10848457" y="6171640"/>
                </a:lnTo>
                <a:lnTo>
                  <a:pt x="10850049" y="6171028"/>
                </a:lnTo>
                <a:lnTo>
                  <a:pt x="10851395" y="6170293"/>
                </a:lnTo>
                <a:lnTo>
                  <a:pt x="10852987" y="6169558"/>
                </a:lnTo>
                <a:lnTo>
                  <a:pt x="10854211" y="6168701"/>
                </a:lnTo>
                <a:lnTo>
                  <a:pt x="10855558" y="6167844"/>
                </a:lnTo>
                <a:lnTo>
                  <a:pt x="10857027" y="6166864"/>
                </a:lnTo>
                <a:lnTo>
                  <a:pt x="10858252" y="6165639"/>
                </a:lnTo>
                <a:lnTo>
                  <a:pt x="10859476" y="6164537"/>
                </a:lnTo>
                <a:lnTo>
                  <a:pt x="10860945" y="6163312"/>
                </a:lnTo>
                <a:lnTo>
                  <a:pt x="10860945" y="6166864"/>
                </a:lnTo>
                <a:lnTo>
                  <a:pt x="10860823" y="6169068"/>
                </a:lnTo>
                <a:lnTo>
                  <a:pt x="10860701" y="6171273"/>
                </a:lnTo>
                <a:lnTo>
                  <a:pt x="10860578" y="6173355"/>
                </a:lnTo>
                <a:lnTo>
                  <a:pt x="10860211" y="6175315"/>
                </a:lnTo>
                <a:lnTo>
                  <a:pt x="10859721" y="6177152"/>
                </a:lnTo>
                <a:lnTo>
                  <a:pt x="10859231" y="6178989"/>
                </a:lnTo>
                <a:lnTo>
                  <a:pt x="10858497" y="6180704"/>
                </a:lnTo>
                <a:lnTo>
                  <a:pt x="10857640" y="6182173"/>
                </a:lnTo>
                <a:lnTo>
                  <a:pt x="10856660" y="6183521"/>
                </a:lnTo>
                <a:lnTo>
                  <a:pt x="10855436" y="6184745"/>
                </a:lnTo>
                <a:lnTo>
                  <a:pt x="10854701" y="6185358"/>
                </a:lnTo>
                <a:lnTo>
                  <a:pt x="10854089" y="6185848"/>
                </a:lnTo>
                <a:lnTo>
                  <a:pt x="10853354" y="6186338"/>
                </a:lnTo>
                <a:lnTo>
                  <a:pt x="10852375" y="6186705"/>
                </a:lnTo>
                <a:lnTo>
                  <a:pt x="10851518" y="6187072"/>
                </a:lnTo>
                <a:lnTo>
                  <a:pt x="10850538" y="6187440"/>
                </a:lnTo>
                <a:lnTo>
                  <a:pt x="10849681" y="6187685"/>
                </a:lnTo>
                <a:lnTo>
                  <a:pt x="10848457" y="6188052"/>
                </a:lnTo>
                <a:lnTo>
                  <a:pt x="10846253" y="6188297"/>
                </a:lnTo>
                <a:lnTo>
                  <a:pt x="10843682" y="6188420"/>
                </a:lnTo>
                <a:lnTo>
                  <a:pt x="10841845" y="6188297"/>
                </a:lnTo>
                <a:lnTo>
                  <a:pt x="10839764" y="6188052"/>
                </a:lnTo>
                <a:lnTo>
                  <a:pt x="10837928" y="6187317"/>
                </a:lnTo>
                <a:lnTo>
                  <a:pt x="10835969" y="6186583"/>
                </a:lnTo>
                <a:lnTo>
                  <a:pt x="10835234" y="6186093"/>
                </a:lnTo>
                <a:lnTo>
                  <a:pt x="10834377" y="6185603"/>
                </a:lnTo>
                <a:lnTo>
                  <a:pt x="10833520" y="6184990"/>
                </a:lnTo>
                <a:lnTo>
                  <a:pt x="10832908" y="6184378"/>
                </a:lnTo>
                <a:lnTo>
                  <a:pt x="10832295" y="6183521"/>
                </a:lnTo>
                <a:lnTo>
                  <a:pt x="10831806" y="6182786"/>
                </a:lnTo>
                <a:lnTo>
                  <a:pt x="10831438" y="6181928"/>
                </a:lnTo>
                <a:lnTo>
                  <a:pt x="10831071" y="6180949"/>
                </a:lnTo>
                <a:lnTo>
                  <a:pt x="10801197" y="6180949"/>
                </a:lnTo>
                <a:lnTo>
                  <a:pt x="10801564" y="6182786"/>
                </a:lnTo>
                <a:lnTo>
                  <a:pt x="10801931" y="6184500"/>
                </a:lnTo>
                <a:lnTo>
                  <a:pt x="10802421" y="6186215"/>
                </a:lnTo>
                <a:lnTo>
                  <a:pt x="10803033" y="6187807"/>
                </a:lnTo>
                <a:lnTo>
                  <a:pt x="10803646" y="6189400"/>
                </a:lnTo>
                <a:lnTo>
                  <a:pt x="10804625" y="6190869"/>
                </a:lnTo>
                <a:lnTo>
                  <a:pt x="10805482" y="6192339"/>
                </a:lnTo>
                <a:lnTo>
                  <a:pt x="10806462" y="6193686"/>
                </a:lnTo>
                <a:lnTo>
                  <a:pt x="10807441" y="6195033"/>
                </a:lnTo>
                <a:lnTo>
                  <a:pt x="10808665" y="6196258"/>
                </a:lnTo>
                <a:lnTo>
                  <a:pt x="10809890" y="6197483"/>
                </a:lnTo>
                <a:lnTo>
                  <a:pt x="10811114" y="6198585"/>
                </a:lnTo>
                <a:lnTo>
                  <a:pt x="10812583" y="6199688"/>
                </a:lnTo>
                <a:lnTo>
                  <a:pt x="10813930" y="6200667"/>
                </a:lnTo>
                <a:lnTo>
                  <a:pt x="10815399" y="6201770"/>
                </a:lnTo>
                <a:lnTo>
                  <a:pt x="10816991" y="6202627"/>
                </a:lnTo>
                <a:lnTo>
                  <a:pt x="10818460" y="6203484"/>
                </a:lnTo>
                <a:lnTo>
                  <a:pt x="10820174" y="6204219"/>
                </a:lnTo>
                <a:lnTo>
                  <a:pt x="10821766" y="6205077"/>
                </a:lnTo>
                <a:lnTo>
                  <a:pt x="10823480" y="6205689"/>
                </a:lnTo>
                <a:lnTo>
                  <a:pt x="10826908" y="6206791"/>
                </a:lnTo>
                <a:lnTo>
                  <a:pt x="10830214" y="6207771"/>
                </a:lnTo>
                <a:lnTo>
                  <a:pt x="10833765" y="6208506"/>
                </a:lnTo>
                <a:lnTo>
                  <a:pt x="10837193" y="6208996"/>
                </a:lnTo>
                <a:lnTo>
                  <a:pt x="10840621" y="6209486"/>
                </a:lnTo>
                <a:lnTo>
                  <a:pt x="10843927" y="6209608"/>
                </a:lnTo>
                <a:lnTo>
                  <a:pt x="10846498" y="6209486"/>
                </a:lnTo>
                <a:lnTo>
                  <a:pt x="10849069" y="6209363"/>
                </a:lnTo>
                <a:lnTo>
                  <a:pt x="10851395" y="6209118"/>
                </a:lnTo>
                <a:lnTo>
                  <a:pt x="10853844" y="6208873"/>
                </a:lnTo>
                <a:lnTo>
                  <a:pt x="10856048" y="6208506"/>
                </a:lnTo>
                <a:lnTo>
                  <a:pt x="10858252" y="6208139"/>
                </a:lnTo>
                <a:lnTo>
                  <a:pt x="10860456" y="6207526"/>
                </a:lnTo>
                <a:lnTo>
                  <a:pt x="10862415" y="6207036"/>
                </a:lnTo>
                <a:lnTo>
                  <a:pt x="10864496" y="6206301"/>
                </a:lnTo>
                <a:lnTo>
                  <a:pt x="10866333" y="6205567"/>
                </a:lnTo>
                <a:lnTo>
                  <a:pt x="10868292" y="6204709"/>
                </a:lnTo>
                <a:lnTo>
                  <a:pt x="10869883" y="6203729"/>
                </a:lnTo>
                <a:lnTo>
                  <a:pt x="10871720" y="6202750"/>
                </a:lnTo>
                <a:lnTo>
                  <a:pt x="10873189" y="6201647"/>
                </a:lnTo>
                <a:lnTo>
                  <a:pt x="10874781" y="6200422"/>
                </a:lnTo>
                <a:lnTo>
                  <a:pt x="10876127" y="6199075"/>
                </a:lnTo>
                <a:lnTo>
                  <a:pt x="10877474" y="6197728"/>
                </a:lnTo>
                <a:lnTo>
                  <a:pt x="10878821" y="6196136"/>
                </a:lnTo>
                <a:lnTo>
                  <a:pt x="10880045" y="6194666"/>
                </a:lnTo>
                <a:lnTo>
                  <a:pt x="10881025" y="6193074"/>
                </a:lnTo>
                <a:lnTo>
                  <a:pt x="10882127" y="6191114"/>
                </a:lnTo>
                <a:lnTo>
                  <a:pt x="10883106" y="6189400"/>
                </a:lnTo>
                <a:lnTo>
                  <a:pt x="10883841" y="6187317"/>
                </a:lnTo>
                <a:lnTo>
                  <a:pt x="10884576" y="6185235"/>
                </a:lnTo>
                <a:lnTo>
                  <a:pt x="10885310" y="6183031"/>
                </a:lnTo>
                <a:lnTo>
                  <a:pt x="10885922" y="6180826"/>
                </a:lnTo>
                <a:lnTo>
                  <a:pt x="10886412" y="6178377"/>
                </a:lnTo>
                <a:lnTo>
                  <a:pt x="10886902" y="6175927"/>
                </a:lnTo>
                <a:lnTo>
                  <a:pt x="10887147" y="6173355"/>
                </a:lnTo>
                <a:lnTo>
                  <a:pt x="10887392" y="6170538"/>
                </a:lnTo>
                <a:lnTo>
                  <a:pt x="10887514" y="6167844"/>
                </a:lnTo>
                <a:lnTo>
                  <a:pt x="10887514" y="6164904"/>
                </a:lnTo>
                <a:lnTo>
                  <a:pt x="10887514" y="6097174"/>
                </a:lnTo>
                <a:lnTo>
                  <a:pt x="10860945" y="6097174"/>
                </a:lnTo>
                <a:lnTo>
                  <a:pt x="10860945" y="6105135"/>
                </a:lnTo>
                <a:lnTo>
                  <a:pt x="10860578" y="6105135"/>
                </a:lnTo>
                <a:lnTo>
                  <a:pt x="10859476" y="6103911"/>
                </a:lnTo>
                <a:lnTo>
                  <a:pt x="10858497" y="6102563"/>
                </a:lnTo>
                <a:lnTo>
                  <a:pt x="10857395" y="6101461"/>
                </a:lnTo>
                <a:lnTo>
                  <a:pt x="10856048" y="6100481"/>
                </a:lnTo>
                <a:lnTo>
                  <a:pt x="10854824" y="6099501"/>
                </a:lnTo>
                <a:lnTo>
                  <a:pt x="10853599" y="6098644"/>
                </a:lnTo>
                <a:lnTo>
                  <a:pt x="10852130" y="6097787"/>
                </a:lnTo>
                <a:lnTo>
                  <a:pt x="10850783" y="6097174"/>
                </a:lnTo>
                <a:lnTo>
                  <a:pt x="10849436" y="6096684"/>
                </a:lnTo>
                <a:lnTo>
                  <a:pt x="10847845" y="6096194"/>
                </a:lnTo>
                <a:lnTo>
                  <a:pt x="10846376" y="6095705"/>
                </a:lnTo>
                <a:lnTo>
                  <a:pt x="10844784" y="6095460"/>
                </a:lnTo>
                <a:lnTo>
                  <a:pt x="10843192" y="6095215"/>
                </a:lnTo>
                <a:lnTo>
                  <a:pt x="10841723" y="6094970"/>
                </a:lnTo>
                <a:lnTo>
                  <a:pt x="10840009" y="6094847"/>
                </a:lnTo>
                <a:close/>
                <a:moveTo>
                  <a:pt x="10753504" y="6094847"/>
                </a:moveTo>
                <a:lnTo>
                  <a:pt x="10751665" y="6094971"/>
                </a:lnTo>
                <a:lnTo>
                  <a:pt x="10749826" y="6095219"/>
                </a:lnTo>
                <a:lnTo>
                  <a:pt x="10748110" y="6095466"/>
                </a:lnTo>
                <a:lnTo>
                  <a:pt x="10746516" y="6095837"/>
                </a:lnTo>
                <a:lnTo>
                  <a:pt x="10744922" y="6096209"/>
                </a:lnTo>
                <a:lnTo>
                  <a:pt x="10743328" y="6096828"/>
                </a:lnTo>
                <a:lnTo>
                  <a:pt x="10741734" y="6097447"/>
                </a:lnTo>
                <a:lnTo>
                  <a:pt x="10740385" y="6098189"/>
                </a:lnTo>
                <a:lnTo>
                  <a:pt x="10738914" y="6099179"/>
                </a:lnTo>
                <a:lnTo>
                  <a:pt x="10737565" y="6100170"/>
                </a:lnTo>
                <a:lnTo>
                  <a:pt x="10736217" y="6101284"/>
                </a:lnTo>
                <a:lnTo>
                  <a:pt x="10734868" y="6102398"/>
                </a:lnTo>
                <a:lnTo>
                  <a:pt x="10733642" y="6103883"/>
                </a:lnTo>
                <a:lnTo>
                  <a:pt x="10732538" y="6105368"/>
                </a:lnTo>
                <a:lnTo>
                  <a:pt x="10731312" y="6106977"/>
                </a:lnTo>
                <a:lnTo>
                  <a:pt x="10730944" y="6106977"/>
                </a:lnTo>
                <a:lnTo>
                  <a:pt x="10730944" y="6097199"/>
                </a:lnTo>
                <a:lnTo>
                  <a:pt x="10704216" y="6097199"/>
                </a:lnTo>
                <a:lnTo>
                  <a:pt x="10704216" y="6172949"/>
                </a:lnTo>
                <a:lnTo>
                  <a:pt x="10730944" y="6172949"/>
                </a:lnTo>
                <a:lnTo>
                  <a:pt x="10730944" y="6133713"/>
                </a:lnTo>
                <a:lnTo>
                  <a:pt x="10731067" y="6131856"/>
                </a:lnTo>
                <a:lnTo>
                  <a:pt x="10731067" y="6130247"/>
                </a:lnTo>
                <a:lnTo>
                  <a:pt x="10731312" y="6128514"/>
                </a:lnTo>
                <a:lnTo>
                  <a:pt x="10731680" y="6126905"/>
                </a:lnTo>
                <a:lnTo>
                  <a:pt x="10732048" y="6125420"/>
                </a:lnTo>
                <a:lnTo>
                  <a:pt x="10732538" y="6123934"/>
                </a:lnTo>
                <a:lnTo>
                  <a:pt x="10733151" y="6122573"/>
                </a:lnTo>
                <a:lnTo>
                  <a:pt x="10733887" y="6121335"/>
                </a:lnTo>
                <a:lnTo>
                  <a:pt x="10734745" y="6120345"/>
                </a:lnTo>
                <a:lnTo>
                  <a:pt x="10735849" y="6119107"/>
                </a:lnTo>
                <a:lnTo>
                  <a:pt x="10736952" y="6118241"/>
                </a:lnTo>
                <a:lnTo>
                  <a:pt x="10738178" y="6117622"/>
                </a:lnTo>
                <a:lnTo>
                  <a:pt x="10739772" y="6117003"/>
                </a:lnTo>
                <a:lnTo>
                  <a:pt x="10741244" y="6116508"/>
                </a:lnTo>
                <a:lnTo>
                  <a:pt x="10743083" y="6116260"/>
                </a:lnTo>
                <a:lnTo>
                  <a:pt x="10745044" y="6116137"/>
                </a:lnTo>
                <a:lnTo>
                  <a:pt x="10746148" y="6116260"/>
                </a:lnTo>
                <a:lnTo>
                  <a:pt x="10747374" y="6116384"/>
                </a:lnTo>
                <a:lnTo>
                  <a:pt x="10748355" y="6116508"/>
                </a:lnTo>
                <a:lnTo>
                  <a:pt x="10749336" y="6116755"/>
                </a:lnTo>
                <a:lnTo>
                  <a:pt x="10750316" y="6117003"/>
                </a:lnTo>
                <a:lnTo>
                  <a:pt x="10751052" y="6117374"/>
                </a:lnTo>
                <a:lnTo>
                  <a:pt x="10751788" y="6117746"/>
                </a:lnTo>
                <a:lnTo>
                  <a:pt x="10752523" y="6118241"/>
                </a:lnTo>
                <a:lnTo>
                  <a:pt x="10753136" y="6118736"/>
                </a:lnTo>
                <a:lnTo>
                  <a:pt x="10753627" y="6119231"/>
                </a:lnTo>
                <a:lnTo>
                  <a:pt x="10754240" y="6119850"/>
                </a:lnTo>
                <a:lnTo>
                  <a:pt x="10754730" y="6120592"/>
                </a:lnTo>
                <a:lnTo>
                  <a:pt x="10755466" y="6121954"/>
                </a:lnTo>
                <a:lnTo>
                  <a:pt x="10756079" y="6123315"/>
                </a:lnTo>
                <a:lnTo>
                  <a:pt x="10756447" y="6125048"/>
                </a:lnTo>
                <a:lnTo>
                  <a:pt x="10756815" y="6126534"/>
                </a:lnTo>
                <a:lnTo>
                  <a:pt x="10756937" y="6128143"/>
                </a:lnTo>
                <a:lnTo>
                  <a:pt x="10757060" y="6129876"/>
                </a:lnTo>
                <a:lnTo>
                  <a:pt x="10757060" y="6133217"/>
                </a:lnTo>
                <a:lnTo>
                  <a:pt x="10757060" y="6136064"/>
                </a:lnTo>
                <a:lnTo>
                  <a:pt x="10757060" y="6172949"/>
                </a:lnTo>
                <a:lnTo>
                  <a:pt x="10783911" y="6172949"/>
                </a:lnTo>
                <a:lnTo>
                  <a:pt x="10783911" y="6126162"/>
                </a:lnTo>
                <a:lnTo>
                  <a:pt x="10783788" y="6122697"/>
                </a:lnTo>
                <a:lnTo>
                  <a:pt x="10783543" y="6119478"/>
                </a:lnTo>
                <a:lnTo>
                  <a:pt x="10782930" y="6116384"/>
                </a:lnTo>
                <a:lnTo>
                  <a:pt x="10782317" y="6113413"/>
                </a:lnTo>
                <a:lnTo>
                  <a:pt x="10781827" y="6112052"/>
                </a:lnTo>
                <a:lnTo>
                  <a:pt x="10781336" y="6110690"/>
                </a:lnTo>
                <a:lnTo>
                  <a:pt x="10780846" y="6109329"/>
                </a:lnTo>
                <a:lnTo>
                  <a:pt x="10780233" y="6108091"/>
                </a:lnTo>
                <a:lnTo>
                  <a:pt x="10779497" y="6106853"/>
                </a:lnTo>
                <a:lnTo>
                  <a:pt x="10778884" y="6105739"/>
                </a:lnTo>
                <a:lnTo>
                  <a:pt x="10778148" y="6104625"/>
                </a:lnTo>
                <a:lnTo>
                  <a:pt x="10777290" y="6103511"/>
                </a:lnTo>
                <a:lnTo>
                  <a:pt x="10776432" y="6102521"/>
                </a:lnTo>
                <a:lnTo>
                  <a:pt x="10775451" y="6101531"/>
                </a:lnTo>
                <a:lnTo>
                  <a:pt x="10774470" y="6100665"/>
                </a:lnTo>
                <a:lnTo>
                  <a:pt x="10773367" y="6099922"/>
                </a:lnTo>
                <a:lnTo>
                  <a:pt x="10772141" y="6099056"/>
                </a:lnTo>
                <a:lnTo>
                  <a:pt x="10771037" y="6098313"/>
                </a:lnTo>
                <a:lnTo>
                  <a:pt x="10769811" y="6097694"/>
                </a:lnTo>
                <a:lnTo>
                  <a:pt x="10768462" y="6097075"/>
                </a:lnTo>
                <a:lnTo>
                  <a:pt x="10767114" y="6096580"/>
                </a:lnTo>
                <a:lnTo>
                  <a:pt x="10765642" y="6096085"/>
                </a:lnTo>
                <a:lnTo>
                  <a:pt x="10764049" y="6095714"/>
                </a:lnTo>
                <a:lnTo>
                  <a:pt x="10762577" y="6095466"/>
                </a:lnTo>
                <a:lnTo>
                  <a:pt x="10760861" y="6095219"/>
                </a:lnTo>
                <a:lnTo>
                  <a:pt x="10759144" y="6094971"/>
                </a:lnTo>
                <a:lnTo>
                  <a:pt x="10757305" y="6094847"/>
                </a:lnTo>
                <a:lnTo>
                  <a:pt x="10755466" y="6094847"/>
                </a:lnTo>
                <a:close/>
                <a:moveTo>
                  <a:pt x="10471751" y="6094847"/>
                </a:moveTo>
                <a:lnTo>
                  <a:pt x="10469544" y="6094970"/>
                </a:lnTo>
                <a:lnTo>
                  <a:pt x="10467337" y="6095092"/>
                </a:lnTo>
                <a:lnTo>
                  <a:pt x="10465007" y="6095215"/>
                </a:lnTo>
                <a:lnTo>
                  <a:pt x="10463046" y="6095583"/>
                </a:lnTo>
                <a:lnTo>
                  <a:pt x="10460839" y="6095951"/>
                </a:lnTo>
                <a:lnTo>
                  <a:pt x="10458877" y="6096319"/>
                </a:lnTo>
                <a:lnTo>
                  <a:pt x="10456793" y="6096932"/>
                </a:lnTo>
                <a:lnTo>
                  <a:pt x="10454953" y="6097545"/>
                </a:lnTo>
                <a:lnTo>
                  <a:pt x="10452992" y="6098280"/>
                </a:lnTo>
                <a:lnTo>
                  <a:pt x="10451275" y="6099139"/>
                </a:lnTo>
                <a:lnTo>
                  <a:pt x="10449436" y="6099997"/>
                </a:lnTo>
                <a:lnTo>
                  <a:pt x="10447842" y="6100855"/>
                </a:lnTo>
                <a:lnTo>
                  <a:pt x="10446126" y="6101958"/>
                </a:lnTo>
                <a:lnTo>
                  <a:pt x="10444654" y="6103062"/>
                </a:lnTo>
                <a:lnTo>
                  <a:pt x="10443060" y="6104288"/>
                </a:lnTo>
                <a:lnTo>
                  <a:pt x="10441712" y="6105514"/>
                </a:lnTo>
                <a:lnTo>
                  <a:pt x="10440486" y="6106740"/>
                </a:lnTo>
                <a:lnTo>
                  <a:pt x="10439137" y="6108211"/>
                </a:lnTo>
                <a:lnTo>
                  <a:pt x="10437911" y="6109683"/>
                </a:lnTo>
                <a:lnTo>
                  <a:pt x="10436807" y="6111154"/>
                </a:lnTo>
                <a:lnTo>
                  <a:pt x="10435704" y="6112871"/>
                </a:lnTo>
                <a:lnTo>
                  <a:pt x="10434846" y="6114464"/>
                </a:lnTo>
                <a:lnTo>
                  <a:pt x="10433987" y="6116304"/>
                </a:lnTo>
                <a:lnTo>
                  <a:pt x="10433252" y="6118020"/>
                </a:lnTo>
                <a:lnTo>
                  <a:pt x="10432516" y="6119982"/>
                </a:lnTo>
                <a:lnTo>
                  <a:pt x="10431781" y="6121944"/>
                </a:lnTo>
                <a:lnTo>
                  <a:pt x="10431290" y="6123783"/>
                </a:lnTo>
                <a:lnTo>
                  <a:pt x="10430922" y="6125990"/>
                </a:lnTo>
                <a:lnTo>
                  <a:pt x="10430554" y="6128074"/>
                </a:lnTo>
                <a:lnTo>
                  <a:pt x="10430309" y="6130281"/>
                </a:lnTo>
                <a:lnTo>
                  <a:pt x="10430187" y="6132488"/>
                </a:lnTo>
                <a:lnTo>
                  <a:pt x="10430064" y="6134817"/>
                </a:lnTo>
                <a:lnTo>
                  <a:pt x="10430187" y="6137270"/>
                </a:lnTo>
                <a:lnTo>
                  <a:pt x="10430309" y="6139476"/>
                </a:lnTo>
                <a:lnTo>
                  <a:pt x="10430554" y="6141806"/>
                </a:lnTo>
                <a:lnTo>
                  <a:pt x="10430922" y="6143890"/>
                </a:lnTo>
                <a:lnTo>
                  <a:pt x="10431413" y="6146097"/>
                </a:lnTo>
                <a:lnTo>
                  <a:pt x="10431903" y="6148059"/>
                </a:lnTo>
                <a:lnTo>
                  <a:pt x="10432639" y="6150021"/>
                </a:lnTo>
                <a:lnTo>
                  <a:pt x="10433374" y="6151860"/>
                </a:lnTo>
                <a:lnTo>
                  <a:pt x="10434233" y="6153699"/>
                </a:lnTo>
                <a:lnTo>
                  <a:pt x="10435091" y="6155415"/>
                </a:lnTo>
                <a:lnTo>
                  <a:pt x="10436194" y="6157132"/>
                </a:lnTo>
                <a:lnTo>
                  <a:pt x="10437298" y="6158726"/>
                </a:lnTo>
                <a:lnTo>
                  <a:pt x="10438524" y="6160197"/>
                </a:lnTo>
                <a:lnTo>
                  <a:pt x="10439873" y="6161668"/>
                </a:lnTo>
                <a:lnTo>
                  <a:pt x="10441099" y="6163140"/>
                </a:lnTo>
                <a:lnTo>
                  <a:pt x="10442570" y="6164366"/>
                </a:lnTo>
                <a:lnTo>
                  <a:pt x="10444041" y="6165469"/>
                </a:lnTo>
                <a:lnTo>
                  <a:pt x="10445635" y="6166818"/>
                </a:lnTo>
                <a:lnTo>
                  <a:pt x="10447229" y="6167799"/>
                </a:lnTo>
                <a:lnTo>
                  <a:pt x="10448946" y="6168780"/>
                </a:lnTo>
                <a:lnTo>
                  <a:pt x="10450785" y="6169638"/>
                </a:lnTo>
                <a:lnTo>
                  <a:pt x="10452501" y="6170496"/>
                </a:lnTo>
                <a:lnTo>
                  <a:pt x="10454340" y="6171354"/>
                </a:lnTo>
                <a:lnTo>
                  <a:pt x="10456302" y="6171967"/>
                </a:lnTo>
                <a:lnTo>
                  <a:pt x="10458386" y="6172581"/>
                </a:lnTo>
                <a:lnTo>
                  <a:pt x="10460348" y="6173071"/>
                </a:lnTo>
                <a:lnTo>
                  <a:pt x="10462555" y="6173561"/>
                </a:lnTo>
                <a:lnTo>
                  <a:pt x="10464639" y="6173929"/>
                </a:lnTo>
                <a:lnTo>
                  <a:pt x="10466846" y="6174174"/>
                </a:lnTo>
                <a:lnTo>
                  <a:pt x="10469053" y="6174297"/>
                </a:lnTo>
                <a:lnTo>
                  <a:pt x="10471383" y="6174420"/>
                </a:lnTo>
                <a:lnTo>
                  <a:pt x="10473712" y="6174542"/>
                </a:lnTo>
                <a:lnTo>
                  <a:pt x="10477023" y="6174420"/>
                </a:lnTo>
                <a:lnTo>
                  <a:pt x="10480088" y="6174174"/>
                </a:lnTo>
                <a:lnTo>
                  <a:pt x="10483153" y="6173684"/>
                </a:lnTo>
                <a:lnTo>
                  <a:pt x="10486341" y="6173071"/>
                </a:lnTo>
                <a:lnTo>
                  <a:pt x="10489284" y="6172213"/>
                </a:lnTo>
                <a:lnTo>
                  <a:pt x="10492226" y="6171109"/>
                </a:lnTo>
                <a:lnTo>
                  <a:pt x="10494924" y="6169761"/>
                </a:lnTo>
                <a:lnTo>
                  <a:pt x="10497621" y="6168289"/>
                </a:lnTo>
                <a:lnTo>
                  <a:pt x="10498970" y="6167554"/>
                </a:lnTo>
                <a:lnTo>
                  <a:pt x="10500196" y="6166573"/>
                </a:lnTo>
                <a:lnTo>
                  <a:pt x="10501299" y="6165714"/>
                </a:lnTo>
                <a:lnTo>
                  <a:pt x="10502648" y="6164734"/>
                </a:lnTo>
                <a:lnTo>
                  <a:pt x="10503629" y="6163753"/>
                </a:lnTo>
                <a:lnTo>
                  <a:pt x="10504732" y="6162649"/>
                </a:lnTo>
                <a:lnTo>
                  <a:pt x="10505591" y="6161423"/>
                </a:lnTo>
                <a:lnTo>
                  <a:pt x="10506694" y="6160320"/>
                </a:lnTo>
                <a:lnTo>
                  <a:pt x="10507552" y="6159094"/>
                </a:lnTo>
                <a:lnTo>
                  <a:pt x="10508288" y="6157745"/>
                </a:lnTo>
                <a:lnTo>
                  <a:pt x="10509146" y="6156396"/>
                </a:lnTo>
                <a:lnTo>
                  <a:pt x="10509759" y="6155048"/>
                </a:lnTo>
                <a:lnTo>
                  <a:pt x="10510495" y="6153576"/>
                </a:lnTo>
                <a:lnTo>
                  <a:pt x="10511108" y="6152105"/>
                </a:lnTo>
                <a:lnTo>
                  <a:pt x="10511598" y="6150511"/>
                </a:lnTo>
                <a:lnTo>
                  <a:pt x="10511966" y="6148795"/>
                </a:lnTo>
                <a:lnTo>
                  <a:pt x="10486341" y="6148795"/>
                </a:lnTo>
                <a:lnTo>
                  <a:pt x="10485728" y="6149775"/>
                </a:lnTo>
                <a:lnTo>
                  <a:pt x="10485238" y="6150634"/>
                </a:lnTo>
                <a:lnTo>
                  <a:pt x="10484625" y="6151369"/>
                </a:lnTo>
                <a:lnTo>
                  <a:pt x="10483889" y="6152105"/>
                </a:lnTo>
                <a:lnTo>
                  <a:pt x="10483153" y="6152718"/>
                </a:lnTo>
                <a:lnTo>
                  <a:pt x="10482540" y="6153209"/>
                </a:lnTo>
                <a:lnTo>
                  <a:pt x="10481805" y="6153699"/>
                </a:lnTo>
                <a:lnTo>
                  <a:pt x="10481069" y="6154312"/>
                </a:lnTo>
                <a:lnTo>
                  <a:pt x="10480088" y="6154680"/>
                </a:lnTo>
                <a:lnTo>
                  <a:pt x="10479352" y="6154925"/>
                </a:lnTo>
                <a:lnTo>
                  <a:pt x="10478494" y="6155293"/>
                </a:lnTo>
                <a:lnTo>
                  <a:pt x="10477636" y="6155415"/>
                </a:lnTo>
                <a:lnTo>
                  <a:pt x="10475552" y="6155783"/>
                </a:lnTo>
                <a:lnTo>
                  <a:pt x="10473590" y="6155783"/>
                </a:lnTo>
                <a:lnTo>
                  <a:pt x="10471506" y="6155783"/>
                </a:lnTo>
                <a:lnTo>
                  <a:pt x="10469789" y="6155538"/>
                </a:lnTo>
                <a:lnTo>
                  <a:pt x="10467950" y="6155293"/>
                </a:lnTo>
                <a:lnTo>
                  <a:pt x="10466356" y="6154802"/>
                </a:lnTo>
                <a:lnTo>
                  <a:pt x="10464762" y="6154189"/>
                </a:lnTo>
                <a:lnTo>
                  <a:pt x="10463413" y="6153331"/>
                </a:lnTo>
                <a:lnTo>
                  <a:pt x="10462187" y="6152473"/>
                </a:lnTo>
                <a:lnTo>
                  <a:pt x="10461084" y="6151615"/>
                </a:lnTo>
                <a:lnTo>
                  <a:pt x="10460103" y="6150511"/>
                </a:lnTo>
                <a:lnTo>
                  <a:pt x="10459245" y="6149162"/>
                </a:lnTo>
                <a:lnTo>
                  <a:pt x="10458509" y="6147814"/>
                </a:lnTo>
                <a:lnTo>
                  <a:pt x="10457896" y="6146342"/>
                </a:lnTo>
                <a:lnTo>
                  <a:pt x="10457406" y="6144749"/>
                </a:lnTo>
                <a:lnTo>
                  <a:pt x="10457038" y="6143032"/>
                </a:lnTo>
                <a:lnTo>
                  <a:pt x="10456915" y="6141193"/>
                </a:lnTo>
                <a:lnTo>
                  <a:pt x="10456793" y="6139231"/>
                </a:lnTo>
                <a:lnTo>
                  <a:pt x="10512947" y="6139231"/>
                </a:lnTo>
                <a:lnTo>
                  <a:pt x="10512947" y="6136411"/>
                </a:lnTo>
                <a:lnTo>
                  <a:pt x="10512947" y="6134082"/>
                </a:lnTo>
                <a:lnTo>
                  <a:pt x="10512824" y="6131752"/>
                </a:lnTo>
                <a:lnTo>
                  <a:pt x="10512579" y="6129545"/>
                </a:lnTo>
                <a:lnTo>
                  <a:pt x="10512334" y="6127338"/>
                </a:lnTo>
                <a:lnTo>
                  <a:pt x="10511966" y="6125254"/>
                </a:lnTo>
                <a:lnTo>
                  <a:pt x="10511476" y="6123047"/>
                </a:lnTo>
                <a:lnTo>
                  <a:pt x="10510863" y="6121085"/>
                </a:lnTo>
                <a:lnTo>
                  <a:pt x="10510250" y="6119124"/>
                </a:lnTo>
                <a:lnTo>
                  <a:pt x="10509514" y="6117284"/>
                </a:lnTo>
                <a:lnTo>
                  <a:pt x="10508656" y="6115568"/>
                </a:lnTo>
                <a:lnTo>
                  <a:pt x="10507797" y="6113729"/>
                </a:lnTo>
                <a:lnTo>
                  <a:pt x="10506939" y="6112135"/>
                </a:lnTo>
                <a:lnTo>
                  <a:pt x="10505713" y="6110418"/>
                </a:lnTo>
                <a:lnTo>
                  <a:pt x="10504610" y="6108947"/>
                </a:lnTo>
                <a:lnTo>
                  <a:pt x="10503506" y="6107476"/>
                </a:lnTo>
                <a:lnTo>
                  <a:pt x="10502158" y="6106005"/>
                </a:lnTo>
                <a:lnTo>
                  <a:pt x="10500809" y="6104778"/>
                </a:lnTo>
                <a:lnTo>
                  <a:pt x="10499460" y="6103552"/>
                </a:lnTo>
                <a:lnTo>
                  <a:pt x="10497866" y="6102326"/>
                </a:lnTo>
                <a:lnTo>
                  <a:pt x="10496272" y="6101223"/>
                </a:lnTo>
                <a:lnTo>
                  <a:pt x="10494556" y="6100242"/>
                </a:lnTo>
                <a:lnTo>
                  <a:pt x="10492962" y="6099384"/>
                </a:lnTo>
                <a:lnTo>
                  <a:pt x="10491123" y="6098525"/>
                </a:lnTo>
                <a:lnTo>
                  <a:pt x="10489284" y="6097667"/>
                </a:lnTo>
                <a:lnTo>
                  <a:pt x="10487199" y="6097054"/>
                </a:lnTo>
                <a:lnTo>
                  <a:pt x="10485360" y="6096441"/>
                </a:lnTo>
                <a:lnTo>
                  <a:pt x="10483153" y="6095951"/>
                </a:lnTo>
                <a:lnTo>
                  <a:pt x="10481069" y="6095583"/>
                </a:lnTo>
                <a:lnTo>
                  <a:pt x="10478862" y="6095215"/>
                </a:lnTo>
                <a:lnTo>
                  <a:pt x="10476655" y="6095092"/>
                </a:lnTo>
                <a:lnTo>
                  <a:pt x="10474203" y="6094970"/>
                </a:lnTo>
                <a:close/>
                <a:moveTo>
                  <a:pt x="10291967" y="6094847"/>
                </a:moveTo>
                <a:lnTo>
                  <a:pt x="10289728" y="6095092"/>
                </a:lnTo>
                <a:lnTo>
                  <a:pt x="10287614" y="6095215"/>
                </a:lnTo>
                <a:lnTo>
                  <a:pt x="10285499" y="6095583"/>
                </a:lnTo>
                <a:lnTo>
                  <a:pt x="10283385" y="6095951"/>
                </a:lnTo>
                <a:lnTo>
                  <a:pt x="10281395" y="6096441"/>
                </a:lnTo>
                <a:lnTo>
                  <a:pt x="10279281" y="6097054"/>
                </a:lnTo>
                <a:lnTo>
                  <a:pt x="10277415" y="6097790"/>
                </a:lnTo>
                <a:lnTo>
                  <a:pt x="10275550" y="6098648"/>
                </a:lnTo>
                <a:lnTo>
                  <a:pt x="10273684" y="6099384"/>
                </a:lnTo>
                <a:lnTo>
                  <a:pt x="10271819" y="6100365"/>
                </a:lnTo>
                <a:lnTo>
                  <a:pt x="10270202" y="6101345"/>
                </a:lnTo>
                <a:lnTo>
                  <a:pt x="10268461" y="6102326"/>
                </a:lnTo>
                <a:lnTo>
                  <a:pt x="10266968" y="6103675"/>
                </a:lnTo>
                <a:lnTo>
                  <a:pt x="10265476" y="6104778"/>
                </a:lnTo>
                <a:lnTo>
                  <a:pt x="10263859" y="6106127"/>
                </a:lnTo>
                <a:lnTo>
                  <a:pt x="10262491" y="6107598"/>
                </a:lnTo>
                <a:lnTo>
                  <a:pt x="10261247" y="6108947"/>
                </a:lnTo>
                <a:lnTo>
                  <a:pt x="10259879" y="6110418"/>
                </a:lnTo>
                <a:lnTo>
                  <a:pt x="10258760" y="6112135"/>
                </a:lnTo>
                <a:lnTo>
                  <a:pt x="10257640" y="6113729"/>
                </a:lnTo>
                <a:lnTo>
                  <a:pt x="10256645" y="6115323"/>
                </a:lnTo>
                <a:lnTo>
                  <a:pt x="10255650" y="6117162"/>
                </a:lnTo>
                <a:lnTo>
                  <a:pt x="10254904" y="6119001"/>
                </a:lnTo>
                <a:lnTo>
                  <a:pt x="10254158" y="6120840"/>
                </a:lnTo>
                <a:lnTo>
                  <a:pt x="10253412" y="6122802"/>
                </a:lnTo>
                <a:lnTo>
                  <a:pt x="10252790" y="6124886"/>
                </a:lnTo>
                <a:lnTo>
                  <a:pt x="10252417" y="6126848"/>
                </a:lnTo>
                <a:lnTo>
                  <a:pt x="10252043" y="6128932"/>
                </a:lnTo>
                <a:lnTo>
                  <a:pt x="10251795" y="6131017"/>
                </a:lnTo>
                <a:lnTo>
                  <a:pt x="10251670" y="6133223"/>
                </a:lnTo>
                <a:lnTo>
                  <a:pt x="10251546" y="6135430"/>
                </a:lnTo>
                <a:lnTo>
                  <a:pt x="10251670" y="6137637"/>
                </a:lnTo>
                <a:lnTo>
                  <a:pt x="10251795" y="6139599"/>
                </a:lnTo>
                <a:lnTo>
                  <a:pt x="10252043" y="6141683"/>
                </a:lnTo>
                <a:lnTo>
                  <a:pt x="10252417" y="6143645"/>
                </a:lnTo>
                <a:lnTo>
                  <a:pt x="10252790" y="6145607"/>
                </a:lnTo>
                <a:lnTo>
                  <a:pt x="10253412" y="6147446"/>
                </a:lnTo>
                <a:lnTo>
                  <a:pt x="10254158" y="6149285"/>
                </a:lnTo>
                <a:lnTo>
                  <a:pt x="10254904" y="6151124"/>
                </a:lnTo>
                <a:lnTo>
                  <a:pt x="10255650" y="6152841"/>
                </a:lnTo>
                <a:lnTo>
                  <a:pt x="10256645" y="6154557"/>
                </a:lnTo>
                <a:lnTo>
                  <a:pt x="10257640" y="6156151"/>
                </a:lnTo>
                <a:lnTo>
                  <a:pt x="10258760" y="6157745"/>
                </a:lnTo>
                <a:lnTo>
                  <a:pt x="10259879" y="6159339"/>
                </a:lnTo>
                <a:lnTo>
                  <a:pt x="10261247" y="6160688"/>
                </a:lnTo>
                <a:lnTo>
                  <a:pt x="10262491" y="6162036"/>
                </a:lnTo>
                <a:lnTo>
                  <a:pt x="10263734" y="6163508"/>
                </a:lnTo>
                <a:lnTo>
                  <a:pt x="10265351" y="6164734"/>
                </a:lnTo>
                <a:lnTo>
                  <a:pt x="10266719" y="6165960"/>
                </a:lnTo>
                <a:lnTo>
                  <a:pt x="10268336" y="6167186"/>
                </a:lnTo>
                <a:lnTo>
                  <a:pt x="10269953" y="6168167"/>
                </a:lnTo>
                <a:lnTo>
                  <a:pt x="10271570" y="6169148"/>
                </a:lnTo>
                <a:lnTo>
                  <a:pt x="10273435" y="6170006"/>
                </a:lnTo>
                <a:lnTo>
                  <a:pt x="10275177" y="6170864"/>
                </a:lnTo>
                <a:lnTo>
                  <a:pt x="10277042" y="6171600"/>
                </a:lnTo>
                <a:lnTo>
                  <a:pt x="10278783" y="6172335"/>
                </a:lnTo>
                <a:lnTo>
                  <a:pt x="10280773" y="6172826"/>
                </a:lnTo>
                <a:lnTo>
                  <a:pt x="10282763" y="6173439"/>
                </a:lnTo>
                <a:lnTo>
                  <a:pt x="10284753" y="6173807"/>
                </a:lnTo>
                <a:lnTo>
                  <a:pt x="10286743" y="6174052"/>
                </a:lnTo>
                <a:lnTo>
                  <a:pt x="10288858" y="6174297"/>
                </a:lnTo>
                <a:lnTo>
                  <a:pt x="10290847" y="6174420"/>
                </a:lnTo>
                <a:lnTo>
                  <a:pt x="10292962" y="6174542"/>
                </a:lnTo>
                <a:lnTo>
                  <a:pt x="10295449" y="6174420"/>
                </a:lnTo>
                <a:lnTo>
                  <a:pt x="10297937" y="6174297"/>
                </a:lnTo>
                <a:lnTo>
                  <a:pt x="10300300" y="6173929"/>
                </a:lnTo>
                <a:lnTo>
                  <a:pt x="10302787" y="6173561"/>
                </a:lnTo>
                <a:lnTo>
                  <a:pt x="10305150" y="6172948"/>
                </a:lnTo>
                <a:lnTo>
                  <a:pt x="10307513" y="6172213"/>
                </a:lnTo>
                <a:lnTo>
                  <a:pt x="10309752" y="6171354"/>
                </a:lnTo>
                <a:lnTo>
                  <a:pt x="10312115" y="6170251"/>
                </a:lnTo>
                <a:lnTo>
                  <a:pt x="10312115" y="6147814"/>
                </a:lnTo>
                <a:lnTo>
                  <a:pt x="10310747" y="6148917"/>
                </a:lnTo>
                <a:lnTo>
                  <a:pt x="10309130" y="6150021"/>
                </a:lnTo>
                <a:lnTo>
                  <a:pt x="10307513" y="6150879"/>
                </a:lnTo>
                <a:lnTo>
                  <a:pt x="10305648" y="6151615"/>
                </a:lnTo>
                <a:lnTo>
                  <a:pt x="10303906" y="6152105"/>
                </a:lnTo>
                <a:lnTo>
                  <a:pt x="10302041" y="6152595"/>
                </a:lnTo>
                <a:lnTo>
                  <a:pt x="10300300" y="6152841"/>
                </a:lnTo>
                <a:lnTo>
                  <a:pt x="10298434" y="6152841"/>
                </a:lnTo>
                <a:lnTo>
                  <a:pt x="10296444" y="6152841"/>
                </a:lnTo>
                <a:lnTo>
                  <a:pt x="10294454" y="6152595"/>
                </a:lnTo>
                <a:lnTo>
                  <a:pt x="10292589" y="6152105"/>
                </a:lnTo>
                <a:lnTo>
                  <a:pt x="10290723" y="6151615"/>
                </a:lnTo>
                <a:lnTo>
                  <a:pt x="10289106" y="6150879"/>
                </a:lnTo>
                <a:lnTo>
                  <a:pt x="10287614" y="6150021"/>
                </a:lnTo>
                <a:lnTo>
                  <a:pt x="10286121" y="6148917"/>
                </a:lnTo>
                <a:lnTo>
                  <a:pt x="10284878" y="6147814"/>
                </a:lnTo>
                <a:lnTo>
                  <a:pt x="10283510" y="6146588"/>
                </a:lnTo>
                <a:lnTo>
                  <a:pt x="10282515" y="6145116"/>
                </a:lnTo>
                <a:lnTo>
                  <a:pt x="10281644" y="6143645"/>
                </a:lnTo>
                <a:lnTo>
                  <a:pt x="10280898" y="6142051"/>
                </a:lnTo>
                <a:lnTo>
                  <a:pt x="10280276" y="6140212"/>
                </a:lnTo>
                <a:lnTo>
                  <a:pt x="10279778" y="6138496"/>
                </a:lnTo>
                <a:lnTo>
                  <a:pt x="10279530" y="6136534"/>
                </a:lnTo>
                <a:lnTo>
                  <a:pt x="10279405" y="6134572"/>
                </a:lnTo>
                <a:lnTo>
                  <a:pt x="10279530" y="6132733"/>
                </a:lnTo>
                <a:lnTo>
                  <a:pt x="10279778" y="6130894"/>
                </a:lnTo>
                <a:lnTo>
                  <a:pt x="10280400" y="6129177"/>
                </a:lnTo>
                <a:lnTo>
                  <a:pt x="10280898" y="6127338"/>
                </a:lnTo>
                <a:lnTo>
                  <a:pt x="10281644" y="6125867"/>
                </a:lnTo>
                <a:lnTo>
                  <a:pt x="10282515" y="6124396"/>
                </a:lnTo>
                <a:lnTo>
                  <a:pt x="10283758" y="6122924"/>
                </a:lnTo>
                <a:lnTo>
                  <a:pt x="10284878" y="6121698"/>
                </a:lnTo>
                <a:lnTo>
                  <a:pt x="10286121" y="6120472"/>
                </a:lnTo>
                <a:lnTo>
                  <a:pt x="10287614" y="6119369"/>
                </a:lnTo>
                <a:lnTo>
                  <a:pt x="10289106" y="6118511"/>
                </a:lnTo>
                <a:lnTo>
                  <a:pt x="10290723" y="6117775"/>
                </a:lnTo>
                <a:lnTo>
                  <a:pt x="10292464" y="6117284"/>
                </a:lnTo>
                <a:lnTo>
                  <a:pt x="10294205" y="6116794"/>
                </a:lnTo>
                <a:lnTo>
                  <a:pt x="10296195" y="6116549"/>
                </a:lnTo>
                <a:lnTo>
                  <a:pt x="10298061" y="6116426"/>
                </a:lnTo>
                <a:lnTo>
                  <a:pt x="10300051" y="6116549"/>
                </a:lnTo>
                <a:lnTo>
                  <a:pt x="10301792" y="6116917"/>
                </a:lnTo>
                <a:lnTo>
                  <a:pt x="10303782" y="6117284"/>
                </a:lnTo>
                <a:lnTo>
                  <a:pt x="10305523" y="6117897"/>
                </a:lnTo>
                <a:lnTo>
                  <a:pt x="10307265" y="6118756"/>
                </a:lnTo>
                <a:lnTo>
                  <a:pt x="10308881" y="6119614"/>
                </a:lnTo>
                <a:lnTo>
                  <a:pt x="10310623" y="6120595"/>
                </a:lnTo>
                <a:lnTo>
                  <a:pt x="10312115" y="6121698"/>
                </a:lnTo>
                <a:lnTo>
                  <a:pt x="10312115" y="6099261"/>
                </a:lnTo>
                <a:lnTo>
                  <a:pt x="10310125" y="6098158"/>
                </a:lnTo>
                <a:lnTo>
                  <a:pt x="10307886" y="6097299"/>
                </a:lnTo>
                <a:lnTo>
                  <a:pt x="10305648" y="6096564"/>
                </a:lnTo>
                <a:lnTo>
                  <a:pt x="10303533" y="6095951"/>
                </a:lnTo>
                <a:lnTo>
                  <a:pt x="10301170" y="6095460"/>
                </a:lnTo>
                <a:lnTo>
                  <a:pt x="10298932" y="6095092"/>
                </a:lnTo>
                <a:lnTo>
                  <a:pt x="10296569" y="6094970"/>
                </a:lnTo>
                <a:lnTo>
                  <a:pt x="10294205" y="6094847"/>
                </a:lnTo>
                <a:close/>
                <a:moveTo>
                  <a:pt x="10160944" y="6094847"/>
                </a:moveTo>
                <a:lnTo>
                  <a:pt x="10157908" y="6094970"/>
                </a:lnTo>
                <a:lnTo>
                  <a:pt x="10154993" y="6095215"/>
                </a:lnTo>
                <a:lnTo>
                  <a:pt x="10151956" y="6095706"/>
                </a:lnTo>
                <a:lnTo>
                  <a:pt x="10148919" y="6096319"/>
                </a:lnTo>
                <a:lnTo>
                  <a:pt x="10146125" y="6097177"/>
                </a:lnTo>
                <a:lnTo>
                  <a:pt x="10143332" y="6098280"/>
                </a:lnTo>
                <a:lnTo>
                  <a:pt x="10142117" y="6099016"/>
                </a:lnTo>
                <a:lnTo>
                  <a:pt x="10140902" y="6099629"/>
                </a:lnTo>
                <a:lnTo>
                  <a:pt x="10139566" y="6100365"/>
                </a:lnTo>
                <a:lnTo>
                  <a:pt x="10138351" y="6101100"/>
                </a:lnTo>
                <a:lnTo>
                  <a:pt x="10137258" y="6101958"/>
                </a:lnTo>
                <a:lnTo>
                  <a:pt x="10136165" y="6102939"/>
                </a:lnTo>
                <a:lnTo>
                  <a:pt x="10135072" y="6103920"/>
                </a:lnTo>
                <a:lnTo>
                  <a:pt x="10134221" y="6104901"/>
                </a:lnTo>
                <a:lnTo>
                  <a:pt x="10133250" y="6105882"/>
                </a:lnTo>
                <a:lnTo>
                  <a:pt x="10132399" y="6107108"/>
                </a:lnTo>
                <a:lnTo>
                  <a:pt x="10131549" y="6108211"/>
                </a:lnTo>
                <a:lnTo>
                  <a:pt x="10130942" y="6109438"/>
                </a:lnTo>
                <a:lnTo>
                  <a:pt x="10130334" y="6110664"/>
                </a:lnTo>
                <a:lnTo>
                  <a:pt x="10129727" y="6112135"/>
                </a:lnTo>
                <a:lnTo>
                  <a:pt x="10129241" y="6113484"/>
                </a:lnTo>
                <a:lnTo>
                  <a:pt x="10128755" y="6114832"/>
                </a:lnTo>
                <a:lnTo>
                  <a:pt x="10128512" y="6116426"/>
                </a:lnTo>
                <a:lnTo>
                  <a:pt x="10128269" y="6118020"/>
                </a:lnTo>
                <a:lnTo>
                  <a:pt x="10128148" y="6119614"/>
                </a:lnTo>
                <a:lnTo>
                  <a:pt x="10128027" y="6121331"/>
                </a:lnTo>
                <a:lnTo>
                  <a:pt x="10128148" y="6123660"/>
                </a:lnTo>
                <a:lnTo>
                  <a:pt x="10128391" y="6125990"/>
                </a:lnTo>
                <a:lnTo>
                  <a:pt x="10128877" y="6127829"/>
                </a:lnTo>
                <a:lnTo>
                  <a:pt x="10129606" y="6129790"/>
                </a:lnTo>
                <a:lnTo>
                  <a:pt x="10130213" y="6131384"/>
                </a:lnTo>
                <a:lnTo>
                  <a:pt x="10131063" y="6132978"/>
                </a:lnTo>
                <a:lnTo>
                  <a:pt x="10132035" y="6134204"/>
                </a:lnTo>
                <a:lnTo>
                  <a:pt x="10133250" y="6135430"/>
                </a:lnTo>
                <a:lnTo>
                  <a:pt x="10134464" y="6136411"/>
                </a:lnTo>
                <a:lnTo>
                  <a:pt x="10135679" y="6137392"/>
                </a:lnTo>
                <a:lnTo>
                  <a:pt x="10137137" y="6138250"/>
                </a:lnTo>
                <a:lnTo>
                  <a:pt x="10138594" y="6138986"/>
                </a:lnTo>
                <a:lnTo>
                  <a:pt x="10139930" y="6139599"/>
                </a:lnTo>
                <a:lnTo>
                  <a:pt x="10141510" y="6140089"/>
                </a:lnTo>
                <a:lnTo>
                  <a:pt x="10143089" y="6140580"/>
                </a:lnTo>
                <a:lnTo>
                  <a:pt x="10144668" y="6140948"/>
                </a:lnTo>
                <a:lnTo>
                  <a:pt x="10150741" y="6142419"/>
                </a:lnTo>
                <a:lnTo>
                  <a:pt x="10156086" y="6143890"/>
                </a:lnTo>
                <a:lnTo>
                  <a:pt x="10157179" y="6144258"/>
                </a:lnTo>
                <a:lnTo>
                  <a:pt x="10158151" y="6144749"/>
                </a:lnTo>
                <a:lnTo>
                  <a:pt x="10159122" y="6145239"/>
                </a:lnTo>
                <a:lnTo>
                  <a:pt x="10159851" y="6145975"/>
                </a:lnTo>
                <a:lnTo>
                  <a:pt x="10160459" y="6146710"/>
                </a:lnTo>
                <a:lnTo>
                  <a:pt x="10160944" y="6147446"/>
                </a:lnTo>
                <a:lnTo>
                  <a:pt x="10161187" y="6148304"/>
                </a:lnTo>
                <a:lnTo>
                  <a:pt x="10161309" y="6149285"/>
                </a:lnTo>
                <a:lnTo>
                  <a:pt x="10161187" y="6150143"/>
                </a:lnTo>
                <a:lnTo>
                  <a:pt x="10161066" y="6150879"/>
                </a:lnTo>
                <a:lnTo>
                  <a:pt x="10160823" y="6151492"/>
                </a:lnTo>
                <a:lnTo>
                  <a:pt x="10160459" y="6151982"/>
                </a:lnTo>
                <a:lnTo>
                  <a:pt x="10160094" y="6152473"/>
                </a:lnTo>
                <a:lnTo>
                  <a:pt x="10159608" y="6152963"/>
                </a:lnTo>
                <a:lnTo>
                  <a:pt x="10159001" y="6153331"/>
                </a:lnTo>
                <a:lnTo>
                  <a:pt x="10158272" y="6153699"/>
                </a:lnTo>
                <a:lnTo>
                  <a:pt x="10157057" y="6154435"/>
                </a:lnTo>
                <a:lnTo>
                  <a:pt x="10155721" y="6154802"/>
                </a:lnTo>
                <a:lnTo>
                  <a:pt x="10154264" y="6155048"/>
                </a:lnTo>
                <a:lnTo>
                  <a:pt x="10152928" y="6155170"/>
                </a:lnTo>
                <a:lnTo>
                  <a:pt x="10151713" y="6155048"/>
                </a:lnTo>
                <a:lnTo>
                  <a:pt x="10150377" y="6154925"/>
                </a:lnTo>
                <a:lnTo>
                  <a:pt x="10149041" y="6154802"/>
                </a:lnTo>
                <a:lnTo>
                  <a:pt x="10147704" y="6154435"/>
                </a:lnTo>
                <a:lnTo>
                  <a:pt x="10144911" y="6153699"/>
                </a:lnTo>
                <a:lnTo>
                  <a:pt x="10141995" y="6152718"/>
                </a:lnTo>
                <a:lnTo>
                  <a:pt x="10139202" y="6151615"/>
                </a:lnTo>
                <a:lnTo>
                  <a:pt x="10136651" y="6150389"/>
                </a:lnTo>
                <a:lnTo>
                  <a:pt x="10134221" y="6148917"/>
                </a:lnTo>
                <a:lnTo>
                  <a:pt x="10131914" y="6147446"/>
                </a:lnTo>
                <a:lnTo>
                  <a:pt x="10122439" y="6165960"/>
                </a:lnTo>
                <a:lnTo>
                  <a:pt x="10124140" y="6167063"/>
                </a:lnTo>
                <a:lnTo>
                  <a:pt x="10125840" y="6167921"/>
                </a:lnTo>
                <a:lnTo>
                  <a:pt x="10127662" y="6168780"/>
                </a:lnTo>
                <a:lnTo>
                  <a:pt x="10129484" y="6169638"/>
                </a:lnTo>
                <a:lnTo>
                  <a:pt x="10131185" y="6170374"/>
                </a:lnTo>
                <a:lnTo>
                  <a:pt x="10133128" y="6171232"/>
                </a:lnTo>
                <a:lnTo>
                  <a:pt x="10134950" y="6171845"/>
                </a:lnTo>
                <a:lnTo>
                  <a:pt x="10136894" y="6172335"/>
                </a:lnTo>
                <a:lnTo>
                  <a:pt x="10138716" y="6172826"/>
                </a:lnTo>
                <a:lnTo>
                  <a:pt x="10140781" y="6173316"/>
                </a:lnTo>
                <a:lnTo>
                  <a:pt x="10142603" y="6173684"/>
                </a:lnTo>
                <a:lnTo>
                  <a:pt x="10144668" y="6173929"/>
                </a:lnTo>
                <a:lnTo>
                  <a:pt x="10146490" y="6174174"/>
                </a:lnTo>
                <a:lnTo>
                  <a:pt x="10148555" y="6174420"/>
                </a:lnTo>
                <a:lnTo>
                  <a:pt x="10150498" y="6174420"/>
                </a:lnTo>
                <a:lnTo>
                  <a:pt x="10152563" y="6174542"/>
                </a:lnTo>
                <a:lnTo>
                  <a:pt x="10155843" y="6174420"/>
                </a:lnTo>
                <a:lnTo>
                  <a:pt x="10159001" y="6174174"/>
                </a:lnTo>
                <a:lnTo>
                  <a:pt x="10162281" y="6173684"/>
                </a:lnTo>
                <a:lnTo>
                  <a:pt x="10165317" y="6172948"/>
                </a:lnTo>
                <a:lnTo>
                  <a:pt x="10168354" y="6172090"/>
                </a:lnTo>
                <a:lnTo>
                  <a:pt x="10171269" y="6170864"/>
                </a:lnTo>
                <a:lnTo>
                  <a:pt x="10172605" y="6170251"/>
                </a:lnTo>
                <a:lnTo>
                  <a:pt x="10174063" y="6169638"/>
                </a:lnTo>
                <a:lnTo>
                  <a:pt x="10175399" y="6168902"/>
                </a:lnTo>
                <a:lnTo>
                  <a:pt x="10176614" y="6168044"/>
                </a:lnTo>
                <a:lnTo>
                  <a:pt x="10177950" y="6167186"/>
                </a:lnTo>
                <a:lnTo>
                  <a:pt x="10179043" y="6166205"/>
                </a:lnTo>
                <a:lnTo>
                  <a:pt x="10180136" y="6165224"/>
                </a:lnTo>
                <a:lnTo>
                  <a:pt x="10181230" y="6164243"/>
                </a:lnTo>
                <a:lnTo>
                  <a:pt x="10182201" y="6163140"/>
                </a:lnTo>
                <a:lnTo>
                  <a:pt x="10183052" y="6161914"/>
                </a:lnTo>
                <a:lnTo>
                  <a:pt x="10183902" y="6160688"/>
                </a:lnTo>
                <a:lnTo>
                  <a:pt x="10184752" y="6159462"/>
                </a:lnTo>
                <a:lnTo>
                  <a:pt x="10185481" y="6157990"/>
                </a:lnTo>
                <a:lnTo>
                  <a:pt x="10185967" y="6156642"/>
                </a:lnTo>
                <a:lnTo>
                  <a:pt x="10186574" y="6155170"/>
                </a:lnTo>
                <a:lnTo>
                  <a:pt x="10186939" y="6153576"/>
                </a:lnTo>
                <a:lnTo>
                  <a:pt x="10187303" y="6151982"/>
                </a:lnTo>
                <a:lnTo>
                  <a:pt x="10187546" y="6150389"/>
                </a:lnTo>
                <a:lnTo>
                  <a:pt x="10187789" y="6148549"/>
                </a:lnTo>
                <a:lnTo>
                  <a:pt x="10187789" y="6146833"/>
                </a:lnTo>
                <a:lnTo>
                  <a:pt x="10187789" y="6144258"/>
                </a:lnTo>
                <a:lnTo>
                  <a:pt x="10187303" y="6141929"/>
                </a:lnTo>
                <a:lnTo>
                  <a:pt x="10186817" y="6139722"/>
                </a:lnTo>
                <a:lnTo>
                  <a:pt x="10186088" y="6137760"/>
                </a:lnTo>
                <a:lnTo>
                  <a:pt x="10185238" y="6135921"/>
                </a:lnTo>
                <a:lnTo>
                  <a:pt x="10184266" y="6134327"/>
                </a:lnTo>
                <a:lnTo>
                  <a:pt x="10182930" y="6132856"/>
                </a:lnTo>
                <a:lnTo>
                  <a:pt x="10181594" y="6131384"/>
                </a:lnTo>
                <a:lnTo>
                  <a:pt x="10180015" y="6130158"/>
                </a:lnTo>
                <a:lnTo>
                  <a:pt x="10178436" y="6129055"/>
                </a:lnTo>
                <a:lnTo>
                  <a:pt x="10176614" y="6127951"/>
                </a:lnTo>
                <a:lnTo>
                  <a:pt x="10174670" y="6127093"/>
                </a:lnTo>
                <a:lnTo>
                  <a:pt x="10172605" y="6126357"/>
                </a:lnTo>
                <a:lnTo>
                  <a:pt x="10170662" y="6125622"/>
                </a:lnTo>
                <a:lnTo>
                  <a:pt x="10168354" y="6125009"/>
                </a:lnTo>
                <a:lnTo>
                  <a:pt x="10166168" y="6124518"/>
                </a:lnTo>
                <a:lnTo>
                  <a:pt x="10164467" y="6124273"/>
                </a:lnTo>
                <a:lnTo>
                  <a:pt x="10162767" y="6123905"/>
                </a:lnTo>
                <a:lnTo>
                  <a:pt x="10160702" y="6123415"/>
                </a:lnTo>
                <a:lnTo>
                  <a:pt x="10158758" y="6122802"/>
                </a:lnTo>
                <a:lnTo>
                  <a:pt x="10157786" y="6122557"/>
                </a:lnTo>
                <a:lnTo>
                  <a:pt x="10156936" y="6122066"/>
                </a:lnTo>
                <a:lnTo>
                  <a:pt x="10156207" y="6121576"/>
                </a:lnTo>
                <a:lnTo>
                  <a:pt x="10155478" y="6121085"/>
                </a:lnTo>
                <a:lnTo>
                  <a:pt x="10154993" y="6120472"/>
                </a:lnTo>
                <a:lnTo>
                  <a:pt x="10154385" y="6119614"/>
                </a:lnTo>
                <a:lnTo>
                  <a:pt x="10154142" y="6118878"/>
                </a:lnTo>
                <a:lnTo>
                  <a:pt x="10154021" y="6117897"/>
                </a:lnTo>
                <a:lnTo>
                  <a:pt x="10154142" y="6117284"/>
                </a:lnTo>
                <a:lnTo>
                  <a:pt x="10154264" y="6116671"/>
                </a:lnTo>
                <a:lnTo>
                  <a:pt x="10154507" y="6116058"/>
                </a:lnTo>
                <a:lnTo>
                  <a:pt x="10154993" y="6115568"/>
                </a:lnTo>
                <a:lnTo>
                  <a:pt x="10155478" y="6115078"/>
                </a:lnTo>
                <a:lnTo>
                  <a:pt x="10155964" y="6114587"/>
                </a:lnTo>
                <a:lnTo>
                  <a:pt x="10156450" y="6114219"/>
                </a:lnTo>
                <a:lnTo>
                  <a:pt x="10157057" y="6113974"/>
                </a:lnTo>
                <a:lnTo>
                  <a:pt x="10158515" y="6113484"/>
                </a:lnTo>
                <a:lnTo>
                  <a:pt x="10159851" y="6113116"/>
                </a:lnTo>
                <a:lnTo>
                  <a:pt x="10161187" y="6112871"/>
                </a:lnTo>
                <a:lnTo>
                  <a:pt x="10162524" y="6112871"/>
                </a:lnTo>
                <a:lnTo>
                  <a:pt x="10164224" y="6112871"/>
                </a:lnTo>
                <a:lnTo>
                  <a:pt x="10166046" y="6113116"/>
                </a:lnTo>
                <a:lnTo>
                  <a:pt x="10167868" y="6113361"/>
                </a:lnTo>
                <a:lnTo>
                  <a:pt x="10169812" y="6113851"/>
                </a:lnTo>
                <a:lnTo>
                  <a:pt x="10171634" y="6114342"/>
                </a:lnTo>
                <a:lnTo>
                  <a:pt x="10173456" y="6114955"/>
                </a:lnTo>
                <a:lnTo>
                  <a:pt x="10175156" y="6115813"/>
                </a:lnTo>
                <a:lnTo>
                  <a:pt x="10176614" y="6116549"/>
                </a:lnTo>
                <a:lnTo>
                  <a:pt x="10185603" y="6099629"/>
                </a:lnTo>
                <a:lnTo>
                  <a:pt x="10182687" y="6098280"/>
                </a:lnTo>
                <a:lnTo>
                  <a:pt x="10179651" y="6097299"/>
                </a:lnTo>
                <a:lnTo>
                  <a:pt x="10176614" y="6096564"/>
                </a:lnTo>
                <a:lnTo>
                  <a:pt x="10173577" y="6095951"/>
                </a:lnTo>
                <a:lnTo>
                  <a:pt x="10170540" y="6095460"/>
                </a:lnTo>
                <a:lnTo>
                  <a:pt x="10167382" y="6095092"/>
                </a:lnTo>
                <a:lnTo>
                  <a:pt x="10164224" y="6094970"/>
                </a:lnTo>
                <a:close/>
                <a:moveTo>
                  <a:pt x="9998359" y="6094847"/>
                </a:moveTo>
                <a:lnTo>
                  <a:pt x="9996152" y="6094970"/>
                </a:lnTo>
                <a:lnTo>
                  <a:pt x="9993945" y="6095092"/>
                </a:lnTo>
                <a:lnTo>
                  <a:pt x="9991615" y="6095215"/>
                </a:lnTo>
                <a:lnTo>
                  <a:pt x="9989654" y="6095583"/>
                </a:lnTo>
                <a:lnTo>
                  <a:pt x="9987447" y="6095951"/>
                </a:lnTo>
                <a:lnTo>
                  <a:pt x="9985485" y="6096319"/>
                </a:lnTo>
                <a:lnTo>
                  <a:pt x="9983401" y="6096932"/>
                </a:lnTo>
                <a:lnTo>
                  <a:pt x="9981561" y="6097545"/>
                </a:lnTo>
                <a:lnTo>
                  <a:pt x="9979600" y="6098280"/>
                </a:lnTo>
                <a:lnTo>
                  <a:pt x="9977883" y="6099139"/>
                </a:lnTo>
                <a:lnTo>
                  <a:pt x="9976044" y="6099997"/>
                </a:lnTo>
                <a:lnTo>
                  <a:pt x="9974450" y="6100855"/>
                </a:lnTo>
                <a:lnTo>
                  <a:pt x="9972734" y="6101958"/>
                </a:lnTo>
                <a:lnTo>
                  <a:pt x="9971262" y="6103062"/>
                </a:lnTo>
                <a:lnTo>
                  <a:pt x="9969668" y="6104288"/>
                </a:lnTo>
                <a:lnTo>
                  <a:pt x="9968320" y="6105514"/>
                </a:lnTo>
                <a:lnTo>
                  <a:pt x="9967094" y="6106740"/>
                </a:lnTo>
                <a:lnTo>
                  <a:pt x="9965745" y="6108211"/>
                </a:lnTo>
                <a:lnTo>
                  <a:pt x="9964519" y="6109683"/>
                </a:lnTo>
                <a:lnTo>
                  <a:pt x="9963415" y="6111154"/>
                </a:lnTo>
                <a:lnTo>
                  <a:pt x="9962312" y="6112871"/>
                </a:lnTo>
                <a:lnTo>
                  <a:pt x="9961454" y="6114464"/>
                </a:lnTo>
                <a:lnTo>
                  <a:pt x="9960595" y="6116304"/>
                </a:lnTo>
                <a:lnTo>
                  <a:pt x="9959860" y="6118020"/>
                </a:lnTo>
                <a:lnTo>
                  <a:pt x="9959124" y="6119982"/>
                </a:lnTo>
                <a:lnTo>
                  <a:pt x="9958389" y="6121944"/>
                </a:lnTo>
                <a:lnTo>
                  <a:pt x="9957898" y="6123783"/>
                </a:lnTo>
                <a:lnTo>
                  <a:pt x="9957530" y="6125990"/>
                </a:lnTo>
                <a:lnTo>
                  <a:pt x="9957162" y="6128074"/>
                </a:lnTo>
                <a:lnTo>
                  <a:pt x="9956917" y="6130281"/>
                </a:lnTo>
                <a:lnTo>
                  <a:pt x="9956795" y="6132488"/>
                </a:lnTo>
                <a:lnTo>
                  <a:pt x="9956672" y="6134817"/>
                </a:lnTo>
                <a:lnTo>
                  <a:pt x="9956795" y="6137270"/>
                </a:lnTo>
                <a:lnTo>
                  <a:pt x="9956917" y="6139476"/>
                </a:lnTo>
                <a:lnTo>
                  <a:pt x="9957162" y="6141806"/>
                </a:lnTo>
                <a:lnTo>
                  <a:pt x="9957530" y="6143890"/>
                </a:lnTo>
                <a:lnTo>
                  <a:pt x="9958021" y="6146097"/>
                </a:lnTo>
                <a:lnTo>
                  <a:pt x="9958511" y="6148059"/>
                </a:lnTo>
                <a:lnTo>
                  <a:pt x="9959247" y="6150021"/>
                </a:lnTo>
                <a:lnTo>
                  <a:pt x="9959982" y="6151860"/>
                </a:lnTo>
                <a:lnTo>
                  <a:pt x="9960841" y="6153699"/>
                </a:lnTo>
                <a:lnTo>
                  <a:pt x="9961699" y="6155415"/>
                </a:lnTo>
                <a:lnTo>
                  <a:pt x="9962802" y="6157132"/>
                </a:lnTo>
                <a:lnTo>
                  <a:pt x="9963906" y="6158726"/>
                </a:lnTo>
                <a:lnTo>
                  <a:pt x="9965132" y="6160197"/>
                </a:lnTo>
                <a:lnTo>
                  <a:pt x="9966481" y="6161668"/>
                </a:lnTo>
                <a:lnTo>
                  <a:pt x="9967707" y="6163140"/>
                </a:lnTo>
                <a:lnTo>
                  <a:pt x="9969178" y="6164366"/>
                </a:lnTo>
                <a:lnTo>
                  <a:pt x="9970649" y="6165469"/>
                </a:lnTo>
                <a:lnTo>
                  <a:pt x="9972243" y="6166818"/>
                </a:lnTo>
                <a:lnTo>
                  <a:pt x="9973837" y="6167799"/>
                </a:lnTo>
                <a:lnTo>
                  <a:pt x="9975554" y="6168780"/>
                </a:lnTo>
                <a:lnTo>
                  <a:pt x="9977270" y="6169638"/>
                </a:lnTo>
                <a:lnTo>
                  <a:pt x="9979109" y="6170496"/>
                </a:lnTo>
                <a:lnTo>
                  <a:pt x="9980948" y="6171354"/>
                </a:lnTo>
                <a:lnTo>
                  <a:pt x="9982910" y="6171967"/>
                </a:lnTo>
                <a:lnTo>
                  <a:pt x="9984994" y="6172581"/>
                </a:lnTo>
                <a:lnTo>
                  <a:pt x="9986956" y="6173071"/>
                </a:lnTo>
                <a:lnTo>
                  <a:pt x="9989163" y="6173561"/>
                </a:lnTo>
                <a:lnTo>
                  <a:pt x="9991247" y="6173929"/>
                </a:lnTo>
                <a:lnTo>
                  <a:pt x="9993454" y="6174174"/>
                </a:lnTo>
                <a:lnTo>
                  <a:pt x="9995661" y="6174297"/>
                </a:lnTo>
                <a:lnTo>
                  <a:pt x="9997991" y="6174420"/>
                </a:lnTo>
                <a:lnTo>
                  <a:pt x="10000320" y="6174542"/>
                </a:lnTo>
                <a:lnTo>
                  <a:pt x="10003508" y="6174420"/>
                </a:lnTo>
                <a:lnTo>
                  <a:pt x="10006696" y="6174174"/>
                </a:lnTo>
                <a:lnTo>
                  <a:pt x="10009761" y="6173684"/>
                </a:lnTo>
                <a:lnTo>
                  <a:pt x="10012949" y="6173071"/>
                </a:lnTo>
                <a:lnTo>
                  <a:pt x="10015892" y="6172213"/>
                </a:lnTo>
                <a:lnTo>
                  <a:pt x="10018834" y="6171109"/>
                </a:lnTo>
                <a:lnTo>
                  <a:pt x="10021532" y="6169761"/>
                </a:lnTo>
                <a:lnTo>
                  <a:pt x="10024229" y="6168289"/>
                </a:lnTo>
                <a:lnTo>
                  <a:pt x="10025578" y="6167554"/>
                </a:lnTo>
                <a:lnTo>
                  <a:pt x="10026804" y="6166573"/>
                </a:lnTo>
                <a:lnTo>
                  <a:pt x="10027907" y="6165714"/>
                </a:lnTo>
                <a:lnTo>
                  <a:pt x="10029256" y="6164734"/>
                </a:lnTo>
                <a:lnTo>
                  <a:pt x="10030237" y="6163753"/>
                </a:lnTo>
                <a:lnTo>
                  <a:pt x="10031340" y="6162649"/>
                </a:lnTo>
                <a:lnTo>
                  <a:pt x="10032199" y="6161423"/>
                </a:lnTo>
                <a:lnTo>
                  <a:pt x="10033302" y="6160320"/>
                </a:lnTo>
                <a:lnTo>
                  <a:pt x="10034160" y="6159094"/>
                </a:lnTo>
                <a:lnTo>
                  <a:pt x="10034896" y="6157745"/>
                </a:lnTo>
                <a:lnTo>
                  <a:pt x="10035754" y="6156396"/>
                </a:lnTo>
                <a:lnTo>
                  <a:pt x="10036367" y="6155048"/>
                </a:lnTo>
                <a:lnTo>
                  <a:pt x="10037103" y="6153576"/>
                </a:lnTo>
                <a:lnTo>
                  <a:pt x="10037716" y="6152105"/>
                </a:lnTo>
                <a:lnTo>
                  <a:pt x="10038206" y="6150511"/>
                </a:lnTo>
                <a:lnTo>
                  <a:pt x="10038574" y="6148795"/>
                </a:lnTo>
                <a:lnTo>
                  <a:pt x="10012949" y="6148795"/>
                </a:lnTo>
                <a:lnTo>
                  <a:pt x="10012336" y="6149775"/>
                </a:lnTo>
                <a:lnTo>
                  <a:pt x="10011846" y="6150634"/>
                </a:lnTo>
                <a:lnTo>
                  <a:pt x="10011233" y="6151369"/>
                </a:lnTo>
                <a:lnTo>
                  <a:pt x="10010497" y="6152105"/>
                </a:lnTo>
                <a:lnTo>
                  <a:pt x="10009761" y="6152718"/>
                </a:lnTo>
                <a:lnTo>
                  <a:pt x="10009148" y="6153209"/>
                </a:lnTo>
                <a:lnTo>
                  <a:pt x="10008413" y="6153699"/>
                </a:lnTo>
                <a:lnTo>
                  <a:pt x="10007677" y="6154312"/>
                </a:lnTo>
                <a:lnTo>
                  <a:pt x="10006696" y="6154680"/>
                </a:lnTo>
                <a:lnTo>
                  <a:pt x="10005960" y="6154925"/>
                </a:lnTo>
                <a:lnTo>
                  <a:pt x="10005102" y="6155293"/>
                </a:lnTo>
                <a:lnTo>
                  <a:pt x="10004244" y="6155415"/>
                </a:lnTo>
                <a:lnTo>
                  <a:pt x="10002160" y="6155783"/>
                </a:lnTo>
                <a:lnTo>
                  <a:pt x="10000198" y="6155783"/>
                </a:lnTo>
                <a:lnTo>
                  <a:pt x="9998114" y="6155783"/>
                </a:lnTo>
                <a:lnTo>
                  <a:pt x="9996274" y="6155538"/>
                </a:lnTo>
                <a:lnTo>
                  <a:pt x="9994558" y="6155293"/>
                </a:lnTo>
                <a:lnTo>
                  <a:pt x="9992964" y="6154802"/>
                </a:lnTo>
                <a:lnTo>
                  <a:pt x="9991370" y="6154189"/>
                </a:lnTo>
                <a:lnTo>
                  <a:pt x="9990021" y="6153331"/>
                </a:lnTo>
                <a:lnTo>
                  <a:pt x="9988795" y="6152473"/>
                </a:lnTo>
                <a:lnTo>
                  <a:pt x="9987692" y="6151615"/>
                </a:lnTo>
                <a:lnTo>
                  <a:pt x="9986711" y="6150511"/>
                </a:lnTo>
                <a:lnTo>
                  <a:pt x="9985853" y="6149162"/>
                </a:lnTo>
                <a:lnTo>
                  <a:pt x="9985117" y="6147814"/>
                </a:lnTo>
                <a:lnTo>
                  <a:pt x="9984504" y="6146342"/>
                </a:lnTo>
                <a:lnTo>
                  <a:pt x="9984014" y="6144749"/>
                </a:lnTo>
                <a:lnTo>
                  <a:pt x="9983646" y="6143032"/>
                </a:lnTo>
                <a:lnTo>
                  <a:pt x="9983523" y="6141193"/>
                </a:lnTo>
                <a:lnTo>
                  <a:pt x="9983401" y="6139231"/>
                </a:lnTo>
                <a:lnTo>
                  <a:pt x="10039555" y="6139231"/>
                </a:lnTo>
                <a:lnTo>
                  <a:pt x="10039555" y="6136411"/>
                </a:lnTo>
                <a:lnTo>
                  <a:pt x="10039555" y="6134082"/>
                </a:lnTo>
                <a:lnTo>
                  <a:pt x="10039432" y="6131752"/>
                </a:lnTo>
                <a:lnTo>
                  <a:pt x="10039187" y="6129545"/>
                </a:lnTo>
                <a:lnTo>
                  <a:pt x="10038942" y="6127338"/>
                </a:lnTo>
                <a:lnTo>
                  <a:pt x="10038574" y="6125254"/>
                </a:lnTo>
                <a:lnTo>
                  <a:pt x="10038084" y="6123047"/>
                </a:lnTo>
                <a:lnTo>
                  <a:pt x="10037593" y="6121085"/>
                </a:lnTo>
                <a:lnTo>
                  <a:pt x="10036858" y="6119124"/>
                </a:lnTo>
                <a:lnTo>
                  <a:pt x="10036122" y="6117284"/>
                </a:lnTo>
                <a:lnTo>
                  <a:pt x="10035264" y="6115568"/>
                </a:lnTo>
                <a:lnTo>
                  <a:pt x="10034405" y="6113729"/>
                </a:lnTo>
                <a:lnTo>
                  <a:pt x="10033547" y="6112135"/>
                </a:lnTo>
                <a:lnTo>
                  <a:pt x="10032321" y="6110418"/>
                </a:lnTo>
                <a:lnTo>
                  <a:pt x="10031340" y="6108947"/>
                </a:lnTo>
                <a:lnTo>
                  <a:pt x="10030114" y="6107476"/>
                </a:lnTo>
                <a:lnTo>
                  <a:pt x="10028766" y="6106005"/>
                </a:lnTo>
                <a:lnTo>
                  <a:pt x="10027417" y="6104778"/>
                </a:lnTo>
                <a:lnTo>
                  <a:pt x="10026068" y="6103552"/>
                </a:lnTo>
                <a:lnTo>
                  <a:pt x="10024474" y="6102326"/>
                </a:lnTo>
                <a:lnTo>
                  <a:pt x="10023003" y="6101223"/>
                </a:lnTo>
                <a:lnTo>
                  <a:pt x="10021164" y="6100242"/>
                </a:lnTo>
                <a:lnTo>
                  <a:pt x="10019570" y="6099384"/>
                </a:lnTo>
                <a:lnTo>
                  <a:pt x="10017731" y="6098525"/>
                </a:lnTo>
                <a:lnTo>
                  <a:pt x="10015892" y="6097667"/>
                </a:lnTo>
                <a:lnTo>
                  <a:pt x="10013807" y="6097054"/>
                </a:lnTo>
                <a:lnTo>
                  <a:pt x="10011968" y="6096441"/>
                </a:lnTo>
                <a:lnTo>
                  <a:pt x="10009761" y="6095951"/>
                </a:lnTo>
                <a:lnTo>
                  <a:pt x="10007677" y="6095583"/>
                </a:lnTo>
                <a:lnTo>
                  <a:pt x="10005470" y="6095215"/>
                </a:lnTo>
                <a:lnTo>
                  <a:pt x="10003140" y="6095092"/>
                </a:lnTo>
                <a:lnTo>
                  <a:pt x="10000811" y="6094970"/>
                </a:lnTo>
                <a:close/>
                <a:moveTo>
                  <a:pt x="9848287" y="6062969"/>
                </a:moveTo>
                <a:lnTo>
                  <a:pt x="9894903" y="6172949"/>
                </a:lnTo>
                <a:lnTo>
                  <a:pt x="9917165" y="6172949"/>
                </a:lnTo>
                <a:lnTo>
                  <a:pt x="9964642" y="6062969"/>
                </a:lnTo>
                <a:lnTo>
                  <a:pt x="9933278" y="6062969"/>
                </a:lnTo>
                <a:lnTo>
                  <a:pt x="9906342" y="6129839"/>
                </a:lnTo>
                <a:lnTo>
                  <a:pt x="9879528" y="6062969"/>
                </a:lnTo>
                <a:close/>
                <a:moveTo>
                  <a:pt x="10218256" y="6053405"/>
                </a:moveTo>
                <a:lnTo>
                  <a:pt x="10216727" y="6053655"/>
                </a:lnTo>
                <a:lnTo>
                  <a:pt x="10215434" y="6054028"/>
                </a:lnTo>
                <a:lnTo>
                  <a:pt x="10214141" y="6054527"/>
                </a:lnTo>
                <a:lnTo>
                  <a:pt x="10212847" y="6055150"/>
                </a:lnTo>
                <a:lnTo>
                  <a:pt x="10211671" y="6056022"/>
                </a:lnTo>
                <a:lnTo>
                  <a:pt x="10210613" y="6056895"/>
                </a:lnTo>
                <a:lnTo>
                  <a:pt x="10209437" y="6057767"/>
                </a:lnTo>
                <a:lnTo>
                  <a:pt x="10208614" y="6058889"/>
                </a:lnTo>
                <a:lnTo>
                  <a:pt x="10207791" y="6060135"/>
                </a:lnTo>
                <a:lnTo>
                  <a:pt x="10207086" y="6061382"/>
                </a:lnTo>
                <a:lnTo>
                  <a:pt x="10206380" y="6062628"/>
                </a:lnTo>
                <a:lnTo>
                  <a:pt x="10205910" y="6063999"/>
                </a:lnTo>
                <a:lnTo>
                  <a:pt x="10205557" y="6065494"/>
                </a:lnTo>
                <a:lnTo>
                  <a:pt x="10205322" y="6066990"/>
                </a:lnTo>
                <a:lnTo>
                  <a:pt x="10205322" y="6068485"/>
                </a:lnTo>
                <a:lnTo>
                  <a:pt x="10205322" y="6070106"/>
                </a:lnTo>
                <a:lnTo>
                  <a:pt x="10205557" y="6071477"/>
                </a:lnTo>
                <a:lnTo>
                  <a:pt x="10205910" y="6073097"/>
                </a:lnTo>
                <a:lnTo>
                  <a:pt x="10206380" y="6074468"/>
                </a:lnTo>
                <a:lnTo>
                  <a:pt x="10207086" y="6075714"/>
                </a:lnTo>
                <a:lnTo>
                  <a:pt x="10207791" y="6076960"/>
                </a:lnTo>
                <a:lnTo>
                  <a:pt x="10208614" y="6078207"/>
                </a:lnTo>
                <a:lnTo>
                  <a:pt x="10209437" y="6079204"/>
                </a:lnTo>
                <a:lnTo>
                  <a:pt x="10210613" y="6080201"/>
                </a:lnTo>
                <a:lnTo>
                  <a:pt x="10211671" y="6080948"/>
                </a:lnTo>
                <a:lnTo>
                  <a:pt x="10212847" y="6081821"/>
                </a:lnTo>
                <a:lnTo>
                  <a:pt x="10214141" y="6082444"/>
                </a:lnTo>
                <a:lnTo>
                  <a:pt x="10215434" y="6082942"/>
                </a:lnTo>
                <a:lnTo>
                  <a:pt x="10216727" y="6083316"/>
                </a:lnTo>
                <a:lnTo>
                  <a:pt x="10218256" y="6083566"/>
                </a:lnTo>
                <a:lnTo>
                  <a:pt x="10219667" y="6083690"/>
                </a:lnTo>
                <a:lnTo>
                  <a:pt x="10221196" y="6083566"/>
                </a:lnTo>
                <a:lnTo>
                  <a:pt x="10222489" y="6083316"/>
                </a:lnTo>
                <a:lnTo>
                  <a:pt x="10223900" y="6082942"/>
                </a:lnTo>
                <a:lnTo>
                  <a:pt x="10225311" y="6082444"/>
                </a:lnTo>
                <a:lnTo>
                  <a:pt x="10226487" y="6081821"/>
                </a:lnTo>
                <a:lnTo>
                  <a:pt x="10227663" y="6080948"/>
                </a:lnTo>
                <a:lnTo>
                  <a:pt x="10228838" y="6080201"/>
                </a:lnTo>
                <a:lnTo>
                  <a:pt x="10229779" y="6079204"/>
                </a:lnTo>
                <a:lnTo>
                  <a:pt x="10230720" y="6078207"/>
                </a:lnTo>
                <a:lnTo>
                  <a:pt x="10231425" y="6076960"/>
                </a:lnTo>
                <a:lnTo>
                  <a:pt x="10232248" y="6075714"/>
                </a:lnTo>
                <a:lnTo>
                  <a:pt x="10232836" y="6074468"/>
                </a:lnTo>
                <a:lnTo>
                  <a:pt x="10233307" y="6073097"/>
                </a:lnTo>
                <a:lnTo>
                  <a:pt x="10233659" y="6071477"/>
                </a:lnTo>
                <a:lnTo>
                  <a:pt x="10233894" y="6070106"/>
                </a:lnTo>
                <a:lnTo>
                  <a:pt x="10234012" y="6068485"/>
                </a:lnTo>
                <a:lnTo>
                  <a:pt x="10233894" y="6066990"/>
                </a:lnTo>
                <a:lnTo>
                  <a:pt x="10233659" y="6065494"/>
                </a:lnTo>
                <a:lnTo>
                  <a:pt x="10233307" y="6063999"/>
                </a:lnTo>
                <a:lnTo>
                  <a:pt x="10232836" y="6062628"/>
                </a:lnTo>
                <a:lnTo>
                  <a:pt x="10232248" y="6061382"/>
                </a:lnTo>
                <a:lnTo>
                  <a:pt x="10231425" y="6060135"/>
                </a:lnTo>
                <a:lnTo>
                  <a:pt x="10230720" y="6058889"/>
                </a:lnTo>
                <a:lnTo>
                  <a:pt x="10229779" y="6057767"/>
                </a:lnTo>
                <a:lnTo>
                  <a:pt x="10228838" y="6056895"/>
                </a:lnTo>
                <a:lnTo>
                  <a:pt x="10227663" y="6056022"/>
                </a:lnTo>
                <a:lnTo>
                  <a:pt x="10226487" y="6055150"/>
                </a:lnTo>
                <a:lnTo>
                  <a:pt x="10225311" y="6054527"/>
                </a:lnTo>
                <a:lnTo>
                  <a:pt x="10223900" y="6054028"/>
                </a:lnTo>
                <a:lnTo>
                  <a:pt x="10222489" y="6053655"/>
                </a:lnTo>
                <a:lnTo>
                  <a:pt x="10221196" y="6053405"/>
                </a:lnTo>
                <a:lnTo>
                  <a:pt x="10219667" y="6053405"/>
                </a:lnTo>
                <a:close/>
                <a:moveTo>
                  <a:pt x="10332835" y="6051812"/>
                </a:moveTo>
                <a:lnTo>
                  <a:pt x="10332835" y="6172949"/>
                </a:lnTo>
                <a:lnTo>
                  <a:pt x="10359605" y="6172949"/>
                </a:lnTo>
                <a:lnTo>
                  <a:pt x="10359605" y="6134650"/>
                </a:lnTo>
                <a:lnTo>
                  <a:pt x="10359727" y="6132937"/>
                </a:lnTo>
                <a:lnTo>
                  <a:pt x="10359850" y="6131347"/>
                </a:lnTo>
                <a:lnTo>
                  <a:pt x="10359973" y="6129756"/>
                </a:lnTo>
                <a:lnTo>
                  <a:pt x="10360341" y="6128043"/>
                </a:lnTo>
                <a:lnTo>
                  <a:pt x="10360710" y="6126575"/>
                </a:lnTo>
                <a:lnTo>
                  <a:pt x="10361201" y="6125106"/>
                </a:lnTo>
                <a:lnTo>
                  <a:pt x="10361938" y="6123638"/>
                </a:lnTo>
                <a:lnTo>
                  <a:pt x="10362675" y="6122414"/>
                </a:lnTo>
                <a:lnTo>
                  <a:pt x="10363534" y="6121191"/>
                </a:lnTo>
                <a:lnTo>
                  <a:pt x="10364517" y="6120089"/>
                </a:lnTo>
                <a:lnTo>
                  <a:pt x="10365744" y="6119111"/>
                </a:lnTo>
                <a:lnTo>
                  <a:pt x="10366972" y="6118376"/>
                </a:lnTo>
                <a:lnTo>
                  <a:pt x="10368323" y="6117765"/>
                </a:lnTo>
                <a:lnTo>
                  <a:pt x="10370042" y="6117275"/>
                </a:lnTo>
                <a:lnTo>
                  <a:pt x="10371762" y="6116908"/>
                </a:lnTo>
                <a:lnTo>
                  <a:pt x="10373726" y="6116786"/>
                </a:lnTo>
                <a:lnTo>
                  <a:pt x="10375568" y="6116908"/>
                </a:lnTo>
                <a:lnTo>
                  <a:pt x="10377287" y="6117275"/>
                </a:lnTo>
                <a:lnTo>
                  <a:pt x="10378761" y="6117765"/>
                </a:lnTo>
                <a:lnTo>
                  <a:pt x="10380112" y="6118376"/>
                </a:lnTo>
                <a:lnTo>
                  <a:pt x="10381340" y="6119111"/>
                </a:lnTo>
                <a:lnTo>
                  <a:pt x="10382199" y="6120089"/>
                </a:lnTo>
                <a:lnTo>
                  <a:pt x="10383059" y="6121191"/>
                </a:lnTo>
                <a:lnTo>
                  <a:pt x="10383673" y="6122414"/>
                </a:lnTo>
                <a:lnTo>
                  <a:pt x="10384410" y="6123638"/>
                </a:lnTo>
                <a:lnTo>
                  <a:pt x="10384778" y="6125106"/>
                </a:lnTo>
                <a:lnTo>
                  <a:pt x="10385146" y="6126575"/>
                </a:lnTo>
                <a:lnTo>
                  <a:pt x="10385392" y="6128043"/>
                </a:lnTo>
                <a:lnTo>
                  <a:pt x="10385760" y="6131347"/>
                </a:lnTo>
                <a:lnTo>
                  <a:pt x="10385760" y="6134650"/>
                </a:lnTo>
                <a:lnTo>
                  <a:pt x="10385760" y="6172949"/>
                </a:lnTo>
                <a:lnTo>
                  <a:pt x="10412530" y="6172949"/>
                </a:lnTo>
                <a:lnTo>
                  <a:pt x="10412530" y="6127186"/>
                </a:lnTo>
                <a:lnTo>
                  <a:pt x="10412407" y="6123638"/>
                </a:lnTo>
                <a:lnTo>
                  <a:pt x="10412162" y="6120334"/>
                </a:lnTo>
                <a:lnTo>
                  <a:pt x="10411548" y="6117275"/>
                </a:lnTo>
                <a:lnTo>
                  <a:pt x="10410811" y="6114216"/>
                </a:lnTo>
                <a:lnTo>
                  <a:pt x="10410442" y="6112870"/>
                </a:lnTo>
                <a:lnTo>
                  <a:pt x="10409706" y="6111402"/>
                </a:lnTo>
                <a:lnTo>
                  <a:pt x="10409214" y="6110178"/>
                </a:lnTo>
                <a:lnTo>
                  <a:pt x="10408601" y="6108955"/>
                </a:lnTo>
                <a:lnTo>
                  <a:pt x="10407864" y="6107609"/>
                </a:lnTo>
                <a:lnTo>
                  <a:pt x="10407250" y="6106507"/>
                </a:lnTo>
                <a:lnTo>
                  <a:pt x="10406390" y="6105406"/>
                </a:lnTo>
                <a:lnTo>
                  <a:pt x="10405531" y="6104305"/>
                </a:lnTo>
                <a:lnTo>
                  <a:pt x="10404548" y="6103326"/>
                </a:lnTo>
                <a:lnTo>
                  <a:pt x="10403689" y="6102347"/>
                </a:lnTo>
                <a:lnTo>
                  <a:pt x="10402706" y="6101491"/>
                </a:lnTo>
                <a:lnTo>
                  <a:pt x="10401478" y="6100634"/>
                </a:lnTo>
                <a:lnTo>
                  <a:pt x="10400373" y="6099900"/>
                </a:lnTo>
                <a:lnTo>
                  <a:pt x="10399268" y="6099166"/>
                </a:lnTo>
                <a:lnTo>
                  <a:pt x="10397917" y="6098554"/>
                </a:lnTo>
                <a:lnTo>
                  <a:pt x="10396689" y="6097942"/>
                </a:lnTo>
                <a:lnTo>
                  <a:pt x="10395338" y="6097453"/>
                </a:lnTo>
                <a:lnTo>
                  <a:pt x="10393865" y="6096963"/>
                </a:lnTo>
                <a:lnTo>
                  <a:pt x="10392391" y="6096596"/>
                </a:lnTo>
                <a:lnTo>
                  <a:pt x="10390795" y="6096352"/>
                </a:lnTo>
                <a:lnTo>
                  <a:pt x="10389321" y="6096107"/>
                </a:lnTo>
                <a:lnTo>
                  <a:pt x="10387602" y="6095862"/>
                </a:lnTo>
                <a:lnTo>
                  <a:pt x="10385883" y="6095740"/>
                </a:lnTo>
                <a:lnTo>
                  <a:pt x="10384164" y="6095740"/>
                </a:lnTo>
                <a:lnTo>
                  <a:pt x="10382199" y="6095740"/>
                </a:lnTo>
                <a:lnTo>
                  <a:pt x="10380234" y="6095862"/>
                </a:lnTo>
                <a:lnTo>
                  <a:pt x="10378515" y="6096107"/>
                </a:lnTo>
                <a:lnTo>
                  <a:pt x="10376919" y="6096474"/>
                </a:lnTo>
                <a:lnTo>
                  <a:pt x="10375077" y="6096841"/>
                </a:lnTo>
                <a:lnTo>
                  <a:pt x="10373603" y="6097330"/>
                </a:lnTo>
                <a:lnTo>
                  <a:pt x="10371884" y="6097942"/>
                </a:lnTo>
                <a:lnTo>
                  <a:pt x="10370411" y="6098554"/>
                </a:lnTo>
                <a:lnTo>
                  <a:pt x="10368937" y="6099411"/>
                </a:lnTo>
                <a:lnTo>
                  <a:pt x="10367586" y="6100267"/>
                </a:lnTo>
                <a:lnTo>
                  <a:pt x="10366236" y="6101246"/>
                </a:lnTo>
                <a:lnTo>
                  <a:pt x="10364762" y="6102347"/>
                </a:lnTo>
                <a:lnTo>
                  <a:pt x="10363534" y="6103448"/>
                </a:lnTo>
                <a:lnTo>
                  <a:pt x="10362306" y="6104794"/>
                </a:lnTo>
                <a:lnTo>
                  <a:pt x="10361078" y="6106140"/>
                </a:lnTo>
                <a:lnTo>
                  <a:pt x="10359973" y="6107609"/>
                </a:lnTo>
                <a:lnTo>
                  <a:pt x="10359605" y="6107609"/>
                </a:lnTo>
                <a:lnTo>
                  <a:pt x="10359605" y="6051812"/>
                </a:lnTo>
                <a:close/>
                <a:moveTo>
                  <a:pt x="9957010" y="5857355"/>
                </a:moveTo>
                <a:lnTo>
                  <a:pt x="9968640" y="5857476"/>
                </a:lnTo>
                <a:lnTo>
                  <a:pt x="9974515" y="5857717"/>
                </a:lnTo>
                <a:lnTo>
                  <a:pt x="9980269" y="5858319"/>
                </a:lnTo>
                <a:lnTo>
                  <a:pt x="9983085" y="5858680"/>
                </a:lnTo>
                <a:lnTo>
                  <a:pt x="9985900" y="5859042"/>
                </a:lnTo>
                <a:lnTo>
                  <a:pt x="9988593" y="5859644"/>
                </a:lnTo>
                <a:lnTo>
                  <a:pt x="9991164" y="5860246"/>
                </a:lnTo>
                <a:lnTo>
                  <a:pt x="9993857" y="5861210"/>
                </a:lnTo>
                <a:lnTo>
                  <a:pt x="9996305" y="5862053"/>
                </a:lnTo>
                <a:lnTo>
                  <a:pt x="9998631" y="5863017"/>
                </a:lnTo>
                <a:lnTo>
                  <a:pt x="10000957" y="5864221"/>
                </a:lnTo>
                <a:lnTo>
                  <a:pt x="10003038" y="5865546"/>
                </a:lnTo>
                <a:lnTo>
                  <a:pt x="10004997" y="5866992"/>
                </a:lnTo>
                <a:lnTo>
                  <a:pt x="10006833" y="5868558"/>
                </a:lnTo>
                <a:lnTo>
                  <a:pt x="10008669" y="5870485"/>
                </a:lnTo>
                <a:lnTo>
                  <a:pt x="10010138" y="5872412"/>
                </a:lnTo>
                <a:lnTo>
                  <a:pt x="10011607" y="5874580"/>
                </a:lnTo>
                <a:lnTo>
                  <a:pt x="10012709" y="5876989"/>
                </a:lnTo>
                <a:lnTo>
                  <a:pt x="10013688" y="5879519"/>
                </a:lnTo>
                <a:lnTo>
                  <a:pt x="10014545" y="5882410"/>
                </a:lnTo>
                <a:lnTo>
                  <a:pt x="10015157" y="5885301"/>
                </a:lnTo>
                <a:lnTo>
                  <a:pt x="10015525" y="5888553"/>
                </a:lnTo>
                <a:lnTo>
                  <a:pt x="10015647" y="5892046"/>
                </a:lnTo>
                <a:lnTo>
                  <a:pt x="10015525" y="5895299"/>
                </a:lnTo>
                <a:lnTo>
                  <a:pt x="10015157" y="5898310"/>
                </a:lnTo>
                <a:lnTo>
                  <a:pt x="10014545" y="5900960"/>
                </a:lnTo>
                <a:lnTo>
                  <a:pt x="10013688" y="5903610"/>
                </a:lnTo>
                <a:lnTo>
                  <a:pt x="10012709" y="5906019"/>
                </a:lnTo>
                <a:lnTo>
                  <a:pt x="10011607" y="5908308"/>
                </a:lnTo>
                <a:lnTo>
                  <a:pt x="10010138" y="5910235"/>
                </a:lnTo>
                <a:lnTo>
                  <a:pt x="10008669" y="5912162"/>
                </a:lnTo>
                <a:lnTo>
                  <a:pt x="10006833" y="5913849"/>
                </a:lnTo>
                <a:lnTo>
                  <a:pt x="10004997" y="5915535"/>
                </a:lnTo>
                <a:lnTo>
                  <a:pt x="10002916" y="5916860"/>
                </a:lnTo>
                <a:lnTo>
                  <a:pt x="10000957" y="5918185"/>
                </a:lnTo>
                <a:lnTo>
                  <a:pt x="9998631" y="5919390"/>
                </a:lnTo>
                <a:lnTo>
                  <a:pt x="9996305" y="5920474"/>
                </a:lnTo>
                <a:lnTo>
                  <a:pt x="9993857" y="5921317"/>
                </a:lnTo>
                <a:lnTo>
                  <a:pt x="9991286" y="5922160"/>
                </a:lnTo>
                <a:lnTo>
                  <a:pt x="9988838" y="5922883"/>
                </a:lnTo>
                <a:lnTo>
                  <a:pt x="9986022" y="5923485"/>
                </a:lnTo>
                <a:lnTo>
                  <a:pt x="9983329" y="5924087"/>
                </a:lnTo>
                <a:lnTo>
                  <a:pt x="9980514" y="5924449"/>
                </a:lnTo>
                <a:lnTo>
                  <a:pt x="9977821" y="5924810"/>
                </a:lnTo>
                <a:lnTo>
                  <a:pt x="9975005" y="5925172"/>
                </a:lnTo>
                <a:lnTo>
                  <a:pt x="9972190" y="5925412"/>
                </a:lnTo>
                <a:lnTo>
                  <a:pt x="9969374" y="5925533"/>
                </a:lnTo>
                <a:lnTo>
                  <a:pt x="9963865" y="5925774"/>
                </a:lnTo>
                <a:lnTo>
                  <a:pt x="9958357" y="5925894"/>
                </a:lnTo>
                <a:lnTo>
                  <a:pt x="9953215" y="5925894"/>
                </a:lnTo>
                <a:lnTo>
                  <a:pt x="9948319" y="5925894"/>
                </a:lnTo>
                <a:lnTo>
                  <a:pt x="9937546" y="5925894"/>
                </a:lnTo>
                <a:lnTo>
                  <a:pt x="9937546" y="5857476"/>
                </a:lnTo>
                <a:lnTo>
                  <a:pt x="9946115" y="5857476"/>
                </a:lnTo>
                <a:close/>
                <a:moveTo>
                  <a:pt x="10253139" y="5830258"/>
                </a:moveTo>
                <a:lnTo>
                  <a:pt x="10256096" y="5830383"/>
                </a:lnTo>
                <a:lnTo>
                  <a:pt x="10259053" y="5830507"/>
                </a:lnTo>
                <a:lnTo>
                  <a:pt x="10261763" y="5830880"/>
                </a:lnTo>
                <a:lnTo>
                  <a:pt x="10264597" y="5831252"/>
                </a:lnTo>
                <a:lnTo>
                  <a:pt x="10267307" y="5831874"/>
                </a:lnTo>
                <a:lnTo>
                  <a:pt x="10269894" y="5832495"/>
                </a:lnTo>
                <a:lnTo>
                  <a:pt x="10272235" y="5833365"/>
                </a:lnTo>
                <a:lnTo>
                  <a:pt x="10274699" y="5834359"/>
                </a:lnTo>
                <a:lnTo>
                  <a:pt x="10277040" y="5835354"/>
                </a:lnTo>
                <a:lnTo>
                  <a:pt x="10279258" y="5836472"/>
                </a:lnTo>
                <a:lnTo>
                  <a:pt x="10281352" y="5837591"/>
                </a:lnTo>
                <a:lnTo>
                  <a:pt x="10283323" y="5839082"/>
                </a:lnTo>
                <a:lnTo>
                  <a:pt x="10285418" y="5840449"/>
                </a:lnTo>
                <a:lnTo>
                  <a:pt x="10287142" y="5841940"/>
                </a:lnTo>
                <a:lnTo>
                  <a:pt x="10288990" y="5843556"/>
                </a:lnTo>
                <a:lnTo>
                  <a:pt x="10290715" y="5845172"/>
                </a:lnTo>
                <a:lnTo>
                  <a:pt x="10292317" y="5847036"/>
                </a:lnTo>
                <a:lnTo>
                  <a:pt x="10293795" y="5848776"/>
                </a:lnTo>
                <a:lnTo>
                  <a:pt x="10295150" y="5850640"/>
                </a:lnTo>
                <a:lnTo>
                  <a:pt x="10296506" y="5852753"/>
                </a:lnTo>
                <a:lnTo>
                  <a:pt x="10297614" y="5854741"/>
                </a:lnTo>
                <a:lnTo>
                  <a:pt x="10298723" y="5856854"/>
                </a:lnTo>
                <a:lnTo>
                  <a:pt x="10299832" y="5858967"/>
                </a:lnTo>
                <a:lnTo>
                  <a:pt x="10300694" y="5861328"/>
                </a:lnTo>
                <a:lnTo>
                  <a:pt x="10301434" y="5863441"/>
                </a:lnTo>
                <a:lnTo>
                  <a:pt x="10302050" y="5865926"/>
                </a:lnTo>
                <a:lnTo>
                  <a:pt x="10302666" y="5868163"/>
                </a:lnTo>
                <a:lnTo>
                  <a:pt x="10303282" y="5870649"/>
                </a:lnTo>
                <a:lnTo>
                  <a:pt x="10303651" y="5873134"/>
                </a:lnTo>
                <a:lnTo>
                  <a:pt x="10303898" y="5875620"/>
                </a:lnTo>
                <a:lnTo>
                  <a:pt x="10304021" y="5878105"/>
                </a:lnTo>
                <a:lnTo>
                  <a:pt x="10304144" y="5880591"/>
                </a:lnTo>
                <a:lnTo>
                  <a:pt x="10304021" y="5883325"/>
                </a:lnTo>
                <a:lnTo>
                  <a:pt x="10303898" y="5885935"/>
                </a:lnTo>
                <a:lnTo>
                  <a:pt x="10303651" y="5888421"/>
                </a:lnTo>
                <a:lnTo>
                  <a:pt x="10303282" y="5891030"/>
                </a:lnTo>
                <a:lnTo>
                  <a:pt x="10302666" y="5893392"/>
                </a:lnTo>
                <a:lnTo>
                  <a:pt x="10302050" y="5895753"/>
                </a:lnTo>
                <a:lnTo>
                  <a:pt x="10301434" y="5898114"/>
                </a:lnTo>
                <a:lnTo>
                  <a:pt x="10300694" y="5900476"/>
                </a:lnTo>
                <a:lnTo>
                  <a:pt x="10299832" y="5902588"/>
                </a:lnTo>
                <a:lnTo>
                  <a:pt x="10298723" y="5904825"/>
                </a:lnTo>
                <a:lnTo>
                  <a:pt x="10297614" y="5906814"/>
                </a:lnTo>
                <a:lnTo>
                  <a:pt x="10296506" y="5908927"/>
                </a:lnTo>
                <a:lnTo>
                  <a:pt x="10295150" y="5910791"/>
                </a:lnTo>
                <a:lnTo>
                  <a:pt x="10293795" y="5912779"/>
                </a:lnTo>
                <a:lnTo>
                  <a:pt x="10292317" y="5914519"/>
                </a:lnTo>
                <a:lnTo>
                  <a:pt x="10290715" y="5916259"/>
                </a:lnTo>
                <a:lnTo>
                  <a:pt x="10288990" y="5917875"/>
                </a:lnTo>
                <a:lnTo>
                  <a:pt x="10287142" y="5919366"/>
                </a:lnTo>
                <a:lnTo>
                  <a:pt x="10285418" y="5920982"/>
                </a:lnTo>
                <a:lnTo>
                  <a:pt x="10283323" y="5922349"/>
                </a:lnTo>
                <a:lnTo>
                  <a:pt x="10281352" y="5923591"/>
                </a:lnTo>
                <a:lnTo>
                  <a:pt x="10279258" y="5924834"/>
                </a:lnTo>
                <a:lnTo>
                  <a:pt x="10277040" y="5925828"/>
                </a:lnTo>
                <a:lnTo>
                  <a:pt x="10274699" y="5926823"/>
                </a:lnTo>
                <a:lnTo>
                  <a:pt x="10272235" y="5927693"/>
                </a:lnTo>
                <a:lnTo>
                  <a:pt x="10269894" y="5928438"/>
                </a:lnTo>
                <a:lnTo>
                  <a:pt x="10267307" y="5929184"/>
                </a:lnTo>
                <a:lnTo>
                  <a:pt x="10264597" y="5929681"/>
                </a:lnTo>
                <a:lnTo>
                  <a:pt x="10261763" y="5930178"/>
                </a:lnTo>
                <a:lnTo>
                  <a:pt x="10259053" y="5930427"/>
                </a:lnTo>
                <a:lnTo>
                  <a:pt x="10256096" y="5930675"/>
                </a:lnTo>
                <a:lnTo>
                  <a:pt x="10253139" y="5930675"/>
                </a:lnTo>
                <a:lnTo>
                  <a:pt x="10250182" y="5930675"/>
                </a:lnTo>
                <a:lnTo>
                  <a:pt x="10247349" y="5930427"/>
                </a:lnTo>
                <a:lnTo>
                  <a:pt x="10244515" y="5930178"/>
                </a:lnTo>
                <a:lnTo>
                  <a:pt x="10241681" y="5929681"/>
                </a:lnTo>
                <a:lnTo>
                  <a:pt x="10238971" y="5929184"/>
                </a:lnTo>
                <a:lnTo>
                  <a:pt x="10236507" y="5928438"/>
                </a:lnTo>
                <a:lnTo>
                  <a:pt x="10234043" y="5927693"/>
                </a:lnTo>
                <a:lnTo>
                  <a:pt x="10231579" y="5926823"/>
                </a:lnTo>
                <a:lnTo>
                  <a:pt x="10229361" y="5925828"/>
                </a:lnTo>
                <a:lnTo>
                  <a:pt x="10227020" y="5924834"/>
                </a:lnTo>
                <a:lnTo>
                  <a:pt x="10224803" y="5923591"/>
                </a:lnTo>
                <a:lnTo>
                  <a:pt x="10222832" y="5922349"/>
                </a:lnTo>
                <a:lnTo>
                  <a:pt x="10220860" y="5920982"/>
                </a:lnTo>
                <a:lnTo>
                  <a:pt x="10219012" y="5919366"/>
                </a:lnTo>
                <a:lnTo>
                  <a:pt x="10217164" y="5917875"/>
                </a:lnTo>
                <a:lnTo>
                  <a:pt x="10215563" y="5916259"/>
                </a:lnTo>
                <a:lnTo>
                  <a:pt x="10214084" y="5914519"/>
                </a:lnTo>
                <a:lnTo>
                  <a:pt x="10212483" y="5912779"/>
                </a:lnTo>
                <a:lnTo>
                  <a:pt x="10211128" y="5910791"/>
                </a:lnTo>
                <a:lnTo>
                  <a:pt x="10209772" y="5908927"/>
                </a:lnTo>
                <a:lnTo>
                  <a:pt x="10208540" y="5906814"/>
                </a:lnTo>
                <a:lnTo>
                  <a:pt x="10207555" y="5904825"/>
                </a:lnTo>
                <a:lnTo>
                  <a:pt x="10206569" y="5902588"/>
                </a:lnTo>
                <a:lnTo>
                  <a:pt x="10205584" y="5900476"/>
                </a:lnTo>
                <a:lnTo>
                  <a:pt x="10204844" y="5898114"/>
                </a:lnTo>
                <a:lnTo>
                  <a:pt x="10204105" y="5895753"/>
                </a:lnTo>
                <a:lnTo>
                  <a:pt x="10203612" y="5893392"/>
                </a:lnTo>
                <a:lnTo>
                  <a:pt x="10203120" y="5891030"/>
                </a:lnTo>
                <a:lnTo>
                  <a:pt x="10202750" y="5888421"/>
                </a:lnTo>
                <a:lnTo>
                  <a:pt x="10202380" y="5885935"/>
                </a:lnTo>
                <a:lnTo>
                  <a:pt x="10202257" y="5883325"/>
                </a:lnTo>
                <a:lnTo>
                  <a:pt x="10202134" y="5880591"/>
                </a:lnTo>
                <a:lnTo>
                  <a:pt x="10202257" y="5878105"/>
                </a:lnTo>
                <a:lnTo>
                  <a:pt x="10202380" y="5875620"/>
                </a:lnTo>
                <a:lnTo>
                  <a:pt x="10202750" y="5873134"/>
                </a:lnTo>
                <a:lnTo>
                  <a:pt x="10203120" y="5870649"/>
                </a:lnTo>
                <a:lnTo>
                  <a:pt x="10203612" y="5868163"/>
                </a:lnTo>
                <a:lnTo>
                  <a:pt x="10204105" y="5865926"/>
                </a:lnTo>
                <a:lnTo>
                  <a:pt x="10204844" y="5863441"/>
                </a:lnTo>
                <a:lnTo>
                  <a:pt x="10205584" y="5861328"/>
                </a:lnTo>
                <a:lnTo>
                  <a:pt x="10206569" y="5858967"/>
                </a:lnTo>
                <a:lnTo>
                  <a:pt x="10207555" y="5856854"/>
                </a:lnTo>
                <a:lnTo>
                  <a:pt x="10208540" y="5854741"/>
                </a:lnTo>
                <a:lnTo>
                  <a:pt x="10209772" y="5852753"/>
                </a:lnTo>
                <a:lnTo>
                  <a:pt x="10211128" y="5850640"/>
                </a:lnTo>
                <a:lnTo>
                  <a:pt x="10212483" y="5848776"/>
                </a:lnTo>
                <a:lnTo>
                  <a:pt x="10214084" y="5847036"/>
                </a:lnTo>
                <a:lnTo>
                  <a:pt x="10215563" y="5845172"/>
                </a:lnTo>
                <a:lnTo>
                  <a:pt x="10217164" y="5843556"/>
                </a:lnTo>
                <a:lnTo>
                  <a:pt x="10219012" y="5841940"/>
                </a:lnTo>
                <a:lnTo>
                  <a:pt x="10220860" y="5840449"/>
                </a:lnTo>
                <a:lnTo>
                  <a:pt x="10222832" y="5839082"/>
                </a:lnTo>
                <a:lnTo>
                  <a:pt x="10224803" y="5837591"/>
                </a:lnTo>
                <a:lnTo>
                  <a:pt x="10227020" y="5836472"/>
                </a:lnTo>
                <a:lnTo>
                  <a:pt x="10229361" y="5835354"/>
                </a:lnTo>
                <a:lnTo>
                  <a:pt x="10231579" y="5834359"/>
                </a:lnTo>
                <a:lnTo>
                  <a:pt x="10234043" y="5833365"/>
                </a:lnTo>
                <a:lnTo>
                  <a:pt x="10236507" y="5832495"/>
                </a:lnTo>
                <a:lnTo>
                  <a:pt x="10238971" y="5831874"/>
                </a:lnTo>
                <a:lnTo>
                  <a:pt x="10241681" y="5831252"/>
                </a:lnTo>
                <a:lnTo>
                  <a:pt x="10244515" y="5830880"/>
                </a:lnTo>
                <a:lnTo>
                  <a:pt x="10247349" y="5830507"/>
                </a:lnTo>
                <a:lnTo>
                  <a:pt x="10250182" y="5830383"/>
                </a:lnTo>
                <a:close/>
                <a:moveTo>
                  <a:pt x="10860720" y="5814319"/>
                </a:moveTo>
                <a:lnTo>
                  <a:pt x="10862552" y="5814438"/>
                </a:lnTo>
                <a:lnTo>
                  <a:pt x="10864628" y="5814556"/>
                </a:lnTo>
                <a:lnTo>
                  <a:pt x="10866459" y="5814674"/>
                </a:lnTo>
                <a:lnTo>
                  <a:pt x="10868413" y="5814911"/>
                </a:lnTo>
                <a:lnTo>
                  <a:pt x="10870367" y="5815265"/>
                </a:lnTo>
                <a:lnTo>
                  <a:pt x="10872199" y="5815620"/>
                </a:lnTo>
                <a:lnTo>
                  <a:pt x="10874030" y="5816093"/>
                </a:lnTo>
                <a:lnTo>
                  <a:pt x="10875984" y="5816685"/>
                </a:lnTo>
                <a:lnTo>
                  <a:pt x="10877694" y="5817276"/>
                </a:lnTo>
                <a:lnTo>
                  <a:pt x="10879525" y="5818104"/>
                </a:lnTo>
                <a:lnTo>
                  <a:pt x="10881235" y="5818814"/>
                </a:lnTo>
                <a:lnTo>
                  <a:pt x="10882945" y="5819524"/>
                </a:lnTo>
                <a:lnTo>
                  <a:pt x="10884532" y="5820470"/>
                </a:lnTo>
                <a:lnTo>
                  <a:pt x="10886242" y="5821298"/>
                </a:lnTo>
                <a:lnTo>
                  <a:pt x="10887707" y="5822481"/>
                </a:lnTo>
                <a:lnTo>
                  <a:pt x="10889172" y="5823427"/>
                </a:lnTo>
                <a:lnTo>
                  <a:pt x="10890760" y="5824610"/>
                </a:lnTo>
                <a:lnTo>
                  <a:pt x="10892103" y="5825674"/>
                </a:lnTo>
                <a:lnTo>
                  <a:pt x="10893568" y="5826975"/>
                </a:lnTo>
                <a:lnTo>
                  <a:pt x="10894790" y="5828276"/>
                </a:lnTo>
                <a:lnTo>
                  <a:pt x="10896011" y="5829577"/>
                </a:lnTo>
                <a:lnTo>
                  <a:pt x="10897232" y="5831115"/>
                </a:lnTo>
                <a:lnTo>
                  <a:pt x="10898331" y="5832416"/>
                </a:lnTo>
                <a:lnTo>
                  <a:pt x="10899430" y="5833954"/>
                </a:lnTo>
                <a:lnTo>
                  <a:pt x="10900407" y="5835609"/>
                </a:lnTo>
                <a:lnTo>
                  <a:pt x="10901262" y="5837147"/>
                </a:lnTo>
                <a:lnTo>
                  <a:pt x="10902116" y="5838803"/>
                </a:lnTo>
                <a:lnTo>
                  <a:pt x="10902849" y="5840459"/>
                </a:lnTo>
                <a:lnTo>
                  <a:pt x="10903460" y="5842233"/>
                </a:lnTo>
                <a:lnTo>
                  <a:pt x="10904192" y="5844007"/>
                </a:lnTo>
                <a:lnTo>
                  <a:pt x="10904681" y="5845782"/>
                </a:lnTo>
                <a:lnTo>
                  <a:pt x="10905047" y="5847792"/>
                </a:lnTo>
                <a:lnTo>
                  <a:pt x="10814195" y="5847792"/>
                </a:lnTo>
                <a:lnTo>
                  <a:pt x="10814561" y="5845663"/>
                </a:lnTo>
                <a:lnTo>
                  <a:pt x="10815172" y="5843771"/>
                </a:lnTo>
                <a:lnTo>
                  <a:pt x="10815905" y="5841760"/>
                </a:lnTo>
                <a:lnTo>
                  <a:pt x="10816637" y="5839986"/>
                </a:lnTo>
                <a:lnTo>
                  <a:pt x="10817370" y="5838212"/>
                </a:lnTo>
                <a:lnTo>
                  <a:pt x="10818225" y="5836556"/>
                </a:lnTo>
                <a:lnTo>
                  <a:pt x="10819080" y="5834900"/>
                </a:lnTo>
                <a:lnTo>
                  <a:pt x="10820179" y="5833244"/>
                </a:lnTo>
                <a:lnTo>
                  <a:pt x="10821278" y="5831825"/>
                </a:lnTo>
                <a:lnTo>
                  <a:pt x="10822377" y="5830405"/>
                </a:lnTo>
                <a:lnTo>
                  <a:pt x="10823720" y="5828868"/>
                </a:lnTo>
                <a:lnTo>
                  <a:pt x="10824941" y="5827567"/>
                </a:lnTo>
                <a:lnTo>
                  <a:pt x="10826162" y="5826384"/>
                </a:lnTo>
                <a:lnTo>
                  <a:pt x="10827627" y="5825083"/>
                </a:lnTo>
                <a:lnTo>
                  <a:pt x="10829093" y="5823900"/>
                </a:lnTo>
                <a:lnTo>
                  <a:pt x="10830680" y="5822835"/>
                </a:lnTo>
                <a:lnTo>
                  <a:pt x="10832146" y="5821771"/>
                </a:lnTo>
                <a:lnTo>
                  <a:pt x="10833733" y="5820825"/>
                </a:lnTo>
                <a:lnTo>
                  <a:pt x="10835443" y="5819997"/>
                </a:lnTo>
                <a:lnTo>
                  <a:pt x="10837152" y="5819169"/>
                </a:lnTo>
                <a:lnTo>
                  <a:pt x="10838862" y="5818459"/>
                </a:lnTo>
                <a:lnTo>
                  <a:pt x="10840694" y="5817631"/>
                </a:lnTo>
                <a:lnTo>
                  <a:pt x="10842525" y="5817040"/>
                </a:lnTo>
                <a:lnTo>
                  <a:pt x="10844357" y="5816448"/>
                </a:lnTo>
                <a:lnTo>
                  <a:pt x="10846311" y="5815975"/>
                </a:lnTo>
                <a:lnTo>
                  <a:pt x="10848264" y="5815502"/>
                </a:lnTo>
                <a:lnTo>
                  <a:pt x="10850340" y="5815147"/>
                </a:lnTo>
                <a:lnTo>
                  <a:pt x="10852294" y="5814911"/>
                </a:lnTo>
                <a:lnTo>
                  <a:pt x="10854370" y="5814674"/>
                </a:lnTo>
                <a:lnTo>
                  <a:pt x="10856446" y="5814438"/>
                </a:lnTo>
                <a:lnTo>
                  <a:pt x="10858522" y="5814438"/>
                </a:lnTo>
                <a:close/>
                <a:moveTo>
                  <a:pt x="11154868" y="5766502"/>
                </a:moveTo>
                <a:lnTo>
                  <a:pt x="11152181" y="5766625"/>
                </a:lnTo>
                <a:lnTo>
                  <a:pt x="11149371" y="5766749"/>
                </a:lnTo>
                <a:lnTo>
                  <a:pt x="11146561" y="5766995"/>
                </a:lnTo>
                <a:lnTo>
                  <a:pt x="11143752" y="5767364"/>
                </a:lnTo>
                <a:lnTo>
                  <a:pt x="11141187" y="5767734"/>
                </a:lnTo>
                <a:lnTo>
                  <a:pt x="11138499" y="5768226"/>
                </a:lnTo>
                <a:lnTo>
                  <a:pt x="11135812" y="5768719"/>
                </a:lnTo>
                <a:lnTo>
                  <a:pt x="11133246" y="5769335"/>
                </a:lnTo>
                <a:lnTo>
                  <a:pt x="11130681" y="5770197"/>
                </a:lnTo>
                <a:lnTo>
                  <a:pt x="11128238" y="5770935"/>
                </a:lnTo>
                <a:lnTo>
                  <a:pt x="11125673" y="5771798"/>
                </a:lnTo>
                <a:lnTo>
                  <a:pt x="11123352" y="5772660"/>
                </a:lnTo>
                <a:lnTo>
                  <a:pt x="11120909" y="5773645"/>
                </a:lnTo>
                <a:lnTo>
                  <a:pt x="11118465" y="5774753"/>
                </a:lnTo>
                <a:lnTo>
                  <a:pt x="11116267" y="5775984"/>
                </a:lnTo>
                <a:lnTo>
                  <a:pt x="11113946" y="5777093"/>
                </a:lnTo>
                <a:lnTo>
                  <a:pt x="11111869" y="5778571"/>
                </a:lnTo>
                <a:lnTo>
                  <a:pt x="11109548" y="5779925"/>
                </a:lnTo>
                <a:lnTo>
                  <a:pt x="11107471" y="5781403"/>
                </a:lnTo>
                <a:lnTo>
                  <a:pt x="11105395" y="5783004"/>
                </a:lnTo>
                <a:lnTo>
                  <a:pt x="11103318" y="5784605"/>
                </a:lnTo>
                <a:lnTo>
                  <a:pt x="11101486" y="5786329"/>
                </a:lnTo>
                <a:lnTo>
                  <a:pt x="11099531" y="5788176"/>
                </a:lnTo>
                <a:lnTo>
                  <a:pt x="11097699" y="5790023"/>
                </a:lnTo>
                <a:lnTo>
                  <a:pt x="11095867" y="5792117"/>
                </a:lnTo>
                <a:lnTo>
                  <a:pt x="11094156" y="5794210"/>
                </a:lnTo>
                <a:lnTo>
                  <a:pt x="11092446" y="5796427"/>
                </a:lnTo>
                <a:lnTo>
                  <a:pt x="11090858" y="5798520"/>
                </a:lnTo>
                <a:lnTo>
                  <a:pt x="11089148" y="5800983"/>
                </a:lnTo>
                <a:lnTo>
                  <a:pt x="11087682" y="5803323"/>
                </a:lnTo>
                <a:lnTo>
                  <a:pt x="11086338" y="5805909"/>
                </a:lnTo>
                <a:lnTo>
                  <a:pt x="11085361" y="5805909"/>
                </a:lnTo>
                <a:lnTo>
                  <a:pt x="11085361" y="5769211"/>
                </a:lnTo>
                <a:lnTo>
                  <a:pt x="11007059" y="5769211"/>
                </a:lnTo>
                <a:lnTo>
                  <a:pt x="11007059" y="5991243"/>
                </a:lnTo>
                <a:lnTo>
                  <a:pt x="11085361" y="5991243"/>
                </a:lnTo>
                <a:lnTo>
                  <a:pt x="11085361" y="5901593"/>
                </a:lnTo>
                <a:lnTo>
                  <a:pt x="11085361" y="5898022"/>
                </a:lnTo>
                <a:lnTo>
                  <a:pt x="11085483" y="5894697"/>
                </a:lnTo>
                <a:lnTo>
                  <a:pt x="11085850" y="5891249"/>
                </a:lnTo>
                <a:lnTo>
                  <a:pt x="11085972" y="5887924"/>
                </a:lnTo>
                <a:lnTo>
                  <a:pt x="11086338" y="5884599"/>
                </a:lnTo>
                <a:lnTo>
                  <a:pt x="11086705" y="5881520"/>
                </a:lnTo>
                <a:lnTo>
                  <a:pt x="11087193" y="5878319"/>
                </a:lnTo>
                <a:lnTo>
                  <a:pt x="11087804" y="5875240"/>
                </a:lnTo>
                <a:lnTo>
                  <a:pt x="11088415" y="5872284"/>
                </a:lnTo>
                <a:lnTo>
                  <a:pt x="11089148" y="5869452"/>
                </a:lnTo>
                <a:lnTo>
                  <a:pt x="11090125" y="5866620"/>
                </a:lnTo>
                <a:lnTo>
                  <a:pt x="11091102" y="5863787"/>
                </a:lnTo>
                <a:lnTo>
                  <a:pt x="11092202" y="5861324"/>
                </a:lnTo>
                <a:lnTo>
                  <a:pt x="11093546" y="5858738"/>
                </a:lnTo>
                <a:lnTo>
                  <a:pt x="11094767" y="5856399"/>
                </a:lnTo>
                <a:lnTo>
                  <a:pt x="11096233" y="5854059"/>
                </a:lnTo>
                <a:lnTo>
                  <a:pt x="11097821" y="5851965"/>
                </a:lnTo>
                <a:lnTo>
                  <a:pt x="11099531" y="5849749"/>
                </a:lnTo>
                <a:lnTo>
                  <a:pt x="11101486" y="5847902"/>
                </a:lnTo>
                <a:lnTo>
                  <a:pt x="11103440" y="5846054"/>
                </a:lnTo>
                <a:lnTo>
                  <a:pt x="11105517" y="5844330"/>
                </a:lnTo>
                <a:lnTo>
                  <a:pt x="11107960" y="5842853"/>
                </a:lnTo>
                <a:lnTo>
                  <a:pt x="11110281" y="5841252"/>
                </a:lnTo>
                <a:lnTo>
                  <a:pt x="11112846" y="5840020"/>
                </a:lnTo>
                <a:lnTo>
                  <a:pt x="11115656" y="5838912"/>
                </a:lnTo>
                <a:lnTo>
                  <a:pt x="11118465" y="5837804"/>
                </a:lnTo>
                <a:lnTo>
                  <a:pt x="11121642" y="5836942"/>
                </a:lnTo>
                <a:lnTo>
                  <a:pt x="11124818" y="5836203"/>
                </a:lnTo>
                <a:lnTo>
                  <a:pt x="11128360" y="5835587"/>
                </a:lnTo>
                <a:lnTo>
                  <a:pt x="11131903" y="5835218"/>
                </a:lnTo>
                <a:lnTo>
                  <a:pt x="11135690" y="5834971"/>
                </a:lnTo>
                <a:lnTo>
                  <a:pt x="11139721" y="5834971"/>
                </a:lnTo>
                <a:lnTo>
                  <a:pt x="11144118" y="5834971"/>
                </a:lnTo>
                <a:lnTo>
                  <a:pt x="11148516" y="5835218"/>
                </a:lnTo>
                <a:lnTo>
                  <a:pt x="11152669" y="5835587"/>
                </a:lnTo>
                <a:lnTo>
                  <a:pt x="11156823" y="5836326"/>
                </a:lnTo>
                <a:lnTo>
                  <a:pt x="11158777" y="5836695"/>
                </a:lnTo>
                <a:lnTo>
                  <a:pt x="11160854" y="5837188"/>
                </a:lnTo>
                <a:lnTo>
                  <a:pt x="11162808" y="5837804"/>
                </a:lnTo>
                <a:lnTo>
                  <a:pt x="11164885" y="5838543"/>
                </a:lnTo>
                <a:lnTo>
                  <a:pt x="11166962" y="5839281"/>
                </a:lnTo>
                <a:lnTo>
                  <a:pt x="11168916" y="5840143"/>
                </a:lnTo>
                <a:lnTo>
                  <a:pt x="11170870" y="5841129"/>
                </a:lnTo>
                <a:lnTo>
                  <a:pt x="11172825" y="5842237"/>
                </a:lnTo>
                <a:lnTo>
                  <a:pt x="11172825" y="5766502"/>
                </a:lnTo>
                <a:lnTo>
                  <a:pt x="11157800" y="5766502"/>
                </a:lnTo>
                <a:close/>
                <a:moveTo>
                  <a:pt x="10857106" y="5763314"/>
                </a:moveTo>
                <a:lnTo>
                  <a:pt x="10850377" y="5763436"/>
                </a:lnTo>
                <a:lnTo>
                  <a:pt x="10843769" y="5763803"/>
                </a:lnTo>
                <a:lnTo>
                  <a:pt x="10837284" y="5764413"/>
                </a:lnTo>
                <a:lnTo>
                  <a:pt x="10831166" y="5765268"/>
                </a:lnTo>
                <a:lnTo>
                  <a:pt x="10824925" y="5766367"/>
                </a:lnTo>
                <a:lnTo>
                  <a:pt x="10818930" y="5767832"/>
                </a:lnTo>
                <a:lnTo>
                  <a:pt x="10813179" y="5769419"/>
                </a:lnTo>
                <a:lnTo>
                  <a:pt x="10807550" y="5771373"/>
                </a:lnTo>
                <a:lnTo>
                  <a:pt x="10802044" y="5773326"/>
                </a:lnTo>
                <a:lnTo>
                  <a:pt x="10796660" y="5775768"/>
                </a:lnTo>
                <a:lnTo>
                  <a:pt x="10791643" y="5778210"/>
                </a:lnTo>
                <a:lnTo>
                  <a:pt x="10786626" y="5781018"/>
                </a:lnTo>
                <a:lnTo>
                  <a:pt x="10781854" y="5784071"/>
                </a:lnTo>
                <a:lnTo>
                  <a:pt x="10777327" y="5787245"/>
                </a:lnTo>
                <a:lnTo>
                  <a:pt x="10772922" y="5790786"/>
                </a:lnTo>
                <a:lnTo>
                  <a:pt x="10768761" y="5794449"/>
                </a:lnTo>
                <a:lnTo>
                  <a:pt x="10764846" y="5798356"/>
                </a:lnTo>
                <a:lnTo>
                  <a:pt x="10761175" y="5802508"/>
                </a:lnTo>
                <a:lnTo>
                  <a:pt x="10757626" y="5806781"/>
                </a:lnTo>
                <a:lnTo>
                  <a:pt x="10754323" y="5811299"/>
                </a:lnTo>
                <a:lnTo>
                  <a:pt x="10751264" y="5815938"/>
                </a:lnTo>
                <a:lnTo>
                  <a:pt x="10748449" y="5820822"/>
                </a:lnTo>
                <a:lnTo>
                  <a:pt x="10745880" y="5826072"/>
                </a:lnTo>
                <a:lnTo>
                  <a:pt x="10743555" y="5831323"/>
                </a:lnTo>
                <a:lnTo>
                  <a:pt x="10741475" y="5836817"/>
                </a:lnTo>
                <a:lnTo>
                  <a:pt x="10739639" y="5842433"/>
                </a:lnTo>
                <a:lnTo>
                  <a:pt x="10738048" y="5848416"/>
                </a:lnTo>
                <a:lnTo>
                  <a:pt x="10736825" y="5854399"/>
                </a:lnTo>
                <a:lnTo>
                  <a:pt x="10735846" y="5860748"/>
                </a:lnTo>
                <a:lnTo>
                  <a:pt x="10735112" y="5867097"/>
                </a:lnTo>
                <a:lnTo>
                  <a:pt x="10734622" y="5873690"/>
                </a:lnTo>
                <a:lnTo>
                  <a:pt x="10734500" y="5880406"/>
                </a:lnTo>
                <a:lnTo>
                  <a:pt x="10734622" y="5887487"/>
                </a:lnTo>
                <a:lnTo>
                  <a:pt x="10735234" y="5894325"/>
                </a:lnTo>
                <a:lnTo>
                  <a:pt x="10735968" y="5900918"/>
                </a:lnTo>
                <a:lnTo>
                  <a:pt x="10737070" y="5907389"/>
                </a:lnTo>
                <a:lnTo>
                  <a:pt x="10738293" y="5913494"/>
                </a:lnTo>
                <a:lnTo>
                  <a:pt x="10740129" y="5919355"/>
                </a:lnTo>
                <a:lnTo>
                  <a:pt x="10741964" y="5925215"/>
                </a:lnTo>
                <a:lnTo>
                  <a:pt x="10744289" y="5930832"/>
                </a:lnTo>
                <a:lnTo>
                  <a:pt x="10746736" y="5936082"/>
                </a:lnTo>
                <a:lnTo>
                  <a:pt x="10749550" y="5941332"/>
                </a:lnTo>
                <a:lnTo>
                  <a:pt x="10752487" y="5946216"/>
                </a:lnTo>
                <a:lnTo>
                  <a:pt x="10755669" y="5950856"/>
                </a:lnTo>
                <a:lnTo>
                  <a:pt x="10759217" y="5955374"/>
                </a:lnTo>
                <a:lnTo>
                  <a:pt x="10762888" y="5959647"/>
                </a:lnTo>
                <a:lnTo>
                  <a:pt x="10766926" y="5963676"/>
                </a:lnTo>
                <a:lnTo>
                  <a:pt x="10771086" y="5967461"/>
                </a:lnTo>
                <a:lnTo>
                  <a:pt x="10775491" y="5971124"/>
                </a:lnTo>
                <a:lnTo>
                  <a:pt x="10780141" y="5974421"/>
                </a:lnTo>
                <a:lnTo>
                  <a:pt x="10784913" y="5977595"/>
                </a:lnTo>
                <a:lnTo>
                  <a:pt x="10789808" y="5980526"/>
                </a:lnTo>
                <a:lnTo>
                  <a:pt x="10795069" y="5983334"/>
                </a:lnTo>
                <a:lnTo>
                  <a:pt x="10800453" y="5985654"/>
                </a:lnTo>
                <a:lnTo>
                  <a:pt x="10805959" y="5987974"/>
                </a:lnTo>
                <a:lnTo>
                  <a:pt x="10811710" y="5989927"/>
                </a:lnTo>
                <a:lnTo>
                  <a:pt x="10817584" y="5991636"/>
                </a:lnTo>
                <a:lnTo>
                  <a:pt x="10823702" y="5993224"/>
                </a:lnTo>
                <a:lnTo>
                  <a:pt x="10829697" y="5994567"/>
                </a:lnTo>
                <a:lnTo>
                  <a:pt x="10836060" y="5995544"/>
                </a:lnTo>
                <a:lnTo>
                  <a:pt x="10842545" y="5996520"/>
                </a:lnTo>
                <a:lnTo>
                  <a:pt x="10849153" y="5997131"/>
                </a:lnTo>
                <a:lnTo>
                  <a:pt x="10855761" y="5997497"/>
                </a:lnTo>
                <a:lnTo>
                  <a:pt x="10862613" y="5997619"/>
                </a:lnTo>
                <a:lnTo>
                  <a:pt x="10867385" y="5997497"/>
                </a:lnTo>
                <a:lnTo>
                  <a:pt x="10872157" y="5997253"/>
                </a:lnTo>
                <a:lnTo>
                  <a:pt x="10876807" y="5997009"/>
                </a:lnTo>
                <a:lnTo>
                  <a:pt x="10881456" y="5996520"/>
                </a:lnTo>
                <a:lnTo>
                  <a:pt x="10886229" y="5995788"/>
                </a:lnTo>
                <a:lnTo>
                  <a:pt x="10890756" y="5995055"/>
                </a:lnTo>
                <a:lnTo>
                  <a:pt x="10895283" y="5994078"/>
                </a:lnTo>
                <a:lnTo>
                  <a:pt x="10899811" y="5993102"/>
                </a:lnTo>
                <a:lnTo>
                  <a:pt x="10904216" y="5991881"/>
                </a:lnTo>
                <a:lnTo>
                  <a:pt x="10908743" y="5990538"/>
                </a:lnTo>
                <a:lnTo>
                  <a:pt x="10913026" y="5989072"/>
                </a:lnTo>
                <a:lnTo>
                  <a:pt x="10917186" y="5987363"/>
                </a:lnTo>
                <a:lnTo>
                  <a:pt x="10921346" y="5985532"/>
                </a:lnTo>
                <a:lnTo>
                  <a:pt x="10925384" y="5983700"/>
                </a:lnTo>
                <a:lnTo>
                  <a:pt x="10929300" y="5981502"/>
                </a:lnTo>
                <a:lnTo>
                  <a:pt x="10933216" y="5979305"/>
                </a:lnTo>
                <a:lnTo>
                  <a:pt x="10936886" y="5976863"/>
                </a:lnTo>
                <a:lnTo>
                  <a:pt x="10940557" y="5974299"/>
                </a:lnTo>
                <a:lnTo>
                  <a:pt x="10944106" y="5971612"/>
                </a:lnTo>
                <a:lnTo>
                  <a:pt x="10947409" y="5968804"/>
                </a:lnTo>
                <a:lnTo>
                  <a:pt x="10950713" y="5965752"/>
                </a:lnTo>
                <a:lnTo>
                  <a:pt x="10953772" y="5962577"/>
                </a:lnTo>
                <a:lnTo>
                  <a:pt x="10956831" y="5959281"/>
                </a:lnTo>
                <a:lnTo>
                  <a:pt x="10959523" y="5955740"/>
                </a:lnTo>
                <a:lnTo>
                  <a:pt x="10962093" y="5952077"/>
                </a:lnTo>
                <a:lnTo>
                  <a:pt x="10964662" y="5948292"/>
                </a:lnTo>
                <a:lnTo>
                  <a:pt x="10966743" y="5944263"/>
                </a:lnTo>
                <a:lnTo>
                  <a:pt x="10968945" y="5940233"/>
                </a:lnTo>
                <a:lnTo>
                  <a:pt x="10970903" y="5935838"/>
                </a:lnTo>
                <a:lnTo>
                  <a:pt x="10972494" y="5931442"/>
                </a:lnTo>
                <a:lnTo>
                  <a:pt x="10973962" y="5926803"/>
                </a:lnTo>
                <a:lnTo>
                  <a:pt x="10975308" y="5922041"/>
                </a:lnTo>
                <a:lnTo>
                  <a:pt x="10899811" y="5922041"/>
                </a:lnTo>
                <a:lnTo>
                  <a:pt x="10898098" y="5924727"/>
                </a:lnTo>
                <a:lnTo>
                  <a:pt x="10896385" y="5927047"/>
                </a:lnTo>
                <a:lnTo>
                  <a:pt x="10894549" y="5929367"/>
                </a:lnTo>
                <a:lnTo>
                  <a:pt x="10892591" y="5931320"/>
                </a:lnTo>
                <a:lnTo>
                  <a:pt x="10890634" y="5933152"/>
                </a:lnTo>
                <a:lnTo>
                  <a:pt x="10888553" y="5934739"/>
                </a:lnTo>
                <a:lnTo>
                  <a:pt x="10886351" y="5936204"/>
                </a:lnTo>
                <a:lnTo>
                  <a:pt x="10884026" y="5937547"/>
                </a:lnTo>
                <a:lnTo>
                  <a:pt x="10881701" y="5938646"/>
                </a:lnTo>
                <a:lnTo>
                  <a:pt x="10879254" y="5939623"/>
                </a:lnTo>
                <a:lnTo>
                  <a:pt x="10876684" y="5940356"/>
                </a:lnTo>
                <a:lnTo>
                  <a:pt x="10873992" y="5941088"/>
                </a:lnTo>
                <a:lnTo>
                  <a:pt x="10871300" y="5941577"/>
                </a:lnTo>
                <a:lnTo>
                  <a:pt x="10868364" y="5941943"/>
                </a:lnTo>
                <a:lnTo>
                  <a:pt x="10865305" y="5942065"/>
                </a:lnTo>
                <a:lnTo>
                  <a:pt x="10862246" y="5942187"/>
                </a:lnTo>
                <a:lnTo>
                  <a:pt x="10859187" y="5942187"/>
                </a:lnTo>
                <a:lnTo>
                  <a:pt x="10856250" y="5941943"/>
                </a:lnTo>
                <a:lnTo>
                  <a:pt x="10853558" y="5941699"/>
                </a:lnTo>
                <a:lnTo>
                  <a:pt x="10850866" y="5941454"/>
                </a:lnTo>
                <a:lnTo>
                  <a:pt x="10848174" y="5940966"/>
                </a:lnTo>
                <a:lnTo>
                  <a:pt x="10845727" y="5940356"/>
                </a:lnTo>
                <a:lnTo>
                  <a:pt x="10843280" y="5939745"/>
                </a:lnTo>
                <a:lnTo>
                  <a:pt x="10840832" y="5939012"/>
                </a:lnTo>
                <a:lnTo>
                  <a:pt x="10838630" y="5938158"/>
                </a:lnTo>
                <a:lnTo>
                  <a:pt x="10836427" y="5937303"/>
                </a:lnTo>
                <a:lnTo>
                  <a:pt x="10834470" y="5936082"/>
                </a:lnTo>
                <a:lnTo>
                  <a:pt x="10832389" y="5934983"/>
                </a:lnTo>
                <a:lnTo>
                  <a:pt x="10830676" y="5933884"/>
                </a:lnTo>
                <a:lnTo>
                  <a:pt x="10828841" y="5932541"/>
                </a:lnTo>
                <a:lnTo>
                  <a:pt x="10827128" y="5931076"/>
                </a:lnTo>
                <a:lnTo>
                  <a:pt x="10825537" y="5929611"/>
                </a:lnTo>
                <a:lnTo>
                  <a:pt x="10824069" y="5928146"/>
                </a:lnTo>
                <a:lnTo>
                  <a:pt x="10822600" y="5926314"/>
                </a:lnTo>
                <a:lnTo>
                  <a:pt x="10821254" y="5924605"/>
                </a:lnTo>
                <a:lnTo>
                  <a:pt x="10820153" y="5922651"/>
                </a:lnTo>
                <a:lnTo>
                  <a:pt x="10818930" y="5920820"/>
                </a:lnTo>
                <a:lnTo>
                  <a:pt x="10817951" y="5918622"/>
                </a:lnTo>
                <a:lnTo>
                  <a:pt x="10816972" y="5916547"/>
                </a:lnTo>
                <a:lnTo>
                  <a:pt x="10816238" y="5914227"/>
                </a:lnTo>
                <a:lnTo>
                  <a:pt x="10815381" y="5912029"/>
                </a:lnTo>
                <a:lnTo>
                  <a:pt x="10814769" y="5909587"/>
                </a:lnTo>
                <a:lnTo>
                  <a:pt x="10814280" y="5907145"/>
                </a:lnTo>
                <a:lnTo>
                  <a:pt x="10813790" y="5904581"/>
                </a:lnTo>
                <a:lnTo>
                  <a:pt x="10813546" y="5901773"/>
                </a:lnTo>
                <a:lnTo>
                  <a:pt x="10813301" y="5899087"/>
                </a:lnTo>
                <a:lnTo>
                  <a:pt x="10813179" y="5896278"/>
                </a:lnTo>
                <a:lnTo>
                  <a:pt x="10813056" y="5893226"/>
                </a:lnTo>
                <a:lnTo>
                  <a:pt x="10978367" y="5893226"/>
                </a:lnTo>
                <a:lnTo>
                  <a:pt x="10978367" y="5885167"/>
                </a:lnTo>
                <a:lnTo>
                  <a:pt x="10978245" y="5878330"/>
                </a:lnTo>
                <a:lnTo>
                  <a:pt x="10977755" y="5871493"/>
                </a:lnTo>
                <a:lnTo>
                  <a:pt x="10977143" y="5864899"/>
                </a:lnTo>
                <a:lnTo>
                  <a:pt x="10976287" y="5858428"/>
                </a:lnTo>
                <a:lnTo>
                  <a:pt x="10975186" y="5852323"/>
                </a:lnTo>
                <a:lnTo>
                  <a:pt x="10973717" y="5846096"/>
                </a:lnTo>
                <a:lnTo>
                  <a:pt x="10972127" y="5840358"/>
                </a:lnTo>
                <a:lnTo>
                  <a:pt x="10970169" y="5834619"/>
                </a:lnTo>
                <a:lnTo>
                  <a:pt x="10968089" y="5829003"/>
                </a:lnTo>
                <a:lnTo>
                  <a:pt x="10965641" y="5823752"/>
                </a:lnTo>
                <a:lnTo>
                  <a:pt x="10962949" y="5818746"/>
                </a:lnTo>
                <a:lnTo>
                  <a:pt x="10960257" y="5813740"/>
                </a:lnTo>
                <a:lnTo>
                  <a:pt x="10957198" y="5809101"/>
                </a:lnTo>
                <a:lnTo>
                  <a:pt x="10953772" y="5804461"/>
                </a:lnTo>
                <a:lnTo>
                  <a:pt x="10950224" y="5800188"/>
                </a:lnTo>
                <a:lnTo>
                  <a:pt x="10946553" y="5796158"/>
                </a:lnTo>
                <a:lnTo>
                  <a:pt x="10942515" y="5792373"/>
                </a:lnTo>
                <a:lnTo>
                  <a:pt x="10938355" y="5788711"/>
                </a:lnTo>
                <a:lnTo>
                  <a:pt x="10933950" y="5785292"/>
                </a:lnTo>
                <a:lnTo>
                  <a:pt x="10929178" y="5782117"/>
                </a:lnTo>
                <a:lnTo>
                  <a:pt x="10924283" y="5779065"/>
                </a:lnTo>
                <a:lnTo>
                  <a:pt x="10919266" y="5776501"/>
                </a:lnTo>
                <a:lnTo>
                  <a:pt x="10913882" y="5773937"/>
                </a:lnTo>
                <a:lnTo>
                  <a:pt x="10908498" y="5771861"/>
                </a:lnTo>
                <a:lnTo>
                  <a:pt x="10902747" y="5769785"/>
                </a:lnTo>
                <a:lnTo>
                  <a:pt x="10896752" y="5768076"/>
                </a:lnTo>
                <a:lnTo>
                  <a:pt x="10890634" y="5766733"/>
                </a:lnTo>
                <a:lnTo>
                  <a:pt x="10884271" y="5765390"/>
                </a:lnTo>
                <a:lnTo>
                  <a:pt x="10877786" y="5764413"/>
                </a:lnTo>
                <a:lnTo>
                  <a:pt x="10871056" y="5763803"/>
                </a:lnTo>
                <a:lnTo>
                  <a:pt x="10864203" y="5763436"/>
                </a:lnTo>
                <a:close/>
                <a:moveTo>
                  <a:pt x="10519373" y="5763314"/>
                </a:moveTo>
                <a:lnTo>
                  <a:pt x="10514839" y="5763436"/>
                </a:lnTo>
                <a:lnTo>
                  <a:pt x="10510305" y="5763680"/>
                </a:lnTo>
                <a:lnTo>
                  <a:pt x="10505649" y="5763924"/>
                </a:lnTo>
                <a:lnTo>
                  <a:pt x="10501116" y="5764413"/>
                </a:lnTo>
                <a:lnTo>
                  <a:pt x="10496704" y="5765023"/>
                </a:lnTo>
                <a:lnTo>
                  <a:pt x="10492293" y="5765877"/>
                </a:lnTo>
                <a:lnTo>
                  <a:pt x="10487882" y="5766853"/>
                </a:lnTo>
                <a:lnTo>
                  <a:pt x="10483471" y="5767952"/>
                </a:lnTo>
                <a:lnTo>
                  <a:pt x="10479182" y="5769172"/>
                </a:lnTo>
                <a:lnTo>
                  <a:pt x="10475016" y="5770514"/>
                </a:lnTo>
                <a:lnTo>
                  <a:pt x="10470973" y="5772101"/>
                </a:lnTo>
                <a:lnTo>
                  <a:pt x="10466929" y="5773687"/>
                </a:lnTo>
                <a:lnTo>
                  <a:pt x="10463131" y="5775640"/>
                </a:lnTo>
                <a:lnTo>
                  <a:pt x="10459332" y="5777592"/>
                </a:lnTo>
                <a:lnTo>
                  <a:pt x="10455657" y="5779789"/>
                </a:lnTo>
                <a:lnTo>
                  <a:pt x="10452103" y="5781985"/>
                </a:lnTo>
                <a:lnTo>
                  <a:pt x="10448795" y="5784548"/>
                </a:lnTo>
                <a:lnTo>
                  <a:pt x="10445486" y="5787111"/>
                </a:lnTo>
                <a:lnTo>
                  <a:pt x="10442423" y="5789918"/>
                </a:lnTo>
                <a:lnTo>
                  <a:pt x="10439605" y="5792968"/>
                </a:lnTo>
                <a:lnTo>
                  <a:pt x="10436909" y="5795897"/>
                </a:lnTo>
                <a:lnTo>
                  <a:pt x="10434336" y="5799192"/>
                </a:lnTo>
                <a:lnTo>
                  <a:pt x="10432131" y="5802731"/>
                </a:lnTo>
                <a:lnTo>
                  <a:pt x="10429925" y="5806270"/>
                </a:lnTo>
                <a:lnTo>
                  <a:pt x="10427964" y="5810053"/>
                </a:lnTo>
                <a:lnTo>
                  <a:pt x="10426372" y="5814080"/>
                </a:lnTo>
                <a:lnTo>
                  <a:pt x="10424901" y="5818229"/>
                </a:lnTo>
                <a:lnTo>
                  <a:pt x="10423676" y="5822501"/>
                </a:lnTo>
                <a:lnTo>
                  <a:pt x="10422696" y="5826894"/>
                </a:lnTo>
                <a:lnTo>
                  <a:pt x="10422083" y="5831531"/>
                </a:lnTo>
                <a:lnTo>
                  <a:pt x="10421593" y="5836290"/>
                </a:lnTo>
                <a:lnTo>
                  <a:pt x="10421470" y="5841172"/>
                </a:lnTo>
                <a:lnTo>
                  <a:pt x="10421593" y="5844833"/>
                </a:lnTo>
                <a:lnTo>
                  <a:pt x="10421715" y="5848372"/>
                </a:lnTo>
                <a:lnTo>
                  <a:pt x="10422083" y="5851667"/>
                </a:lnTo>
                <a:lnTo>
                  <a:pt x="10422573" y="5854718"/>
                </a:lnTo>
                <a:lnTo>
                  <a:pt x="10423186" y="5857768"/>
                </a:lnTo>
                <a:lnTo>
                  <a:pt x="10423798" y="5860697"/>
                </a:lnTo>
                <a:lnTo>
                  <a:pt x="10424779" y="5863382"/>
                </a:lnTo>
                <a:lnTo>
                  <a:pt x="10425759" y="5866067"/>
                </a:lnTo>
                <a:lnTo>
                  <a:pt x="10426739" y="5868385"/>
                </a:lnTo>
                <a:lnTo>
                  <a:pt x="10427842" y="5870826"/>
                </a:lnTo>
                <a:lnTo>
                  <a:pt x="10429190" y="5873145"/>
                </a:lnTo>
                <a:lnTo>
                  <a:pt x="10430538" y="5875219"/>
                </a:lnTo>
                <a:lnTo>
                  <a:pt x="10432008" y="5877294"/>
                </a:lnTo>
                <a:lnTo>
                  <a:pt x="10433478" y="5879124"/>
                </a:lnTo>
                <a:lnTo>
                  <a:pt x="10435071" y="5880833"/>
                </a:lnTo>
                <a:lnTo>
                  <a:pt x="10436787" y="5882541"/>
                </a:lnTo>
                <a:lnTo>
                  <a:pt x="10438502" y="5884128"/>
                </a:lnTo>
                <a:lnTo>
                  <a:pt x="10440463" y="5885714"/>
                </a:lnTo>
                <a:lnTo>
                  <a:pt x="10442301" y="5887057"/>
                </a:lnTo>
                <a:lnTo>
                  <a:pt x="10444261" y="5888399"/>
                </a:lnTo>
                <a:lnTo>
                  <a:pt x="10446222" y="5889497"/>
                </a:lnTo>
                <a:lnTo>
                  <a:pt x="10448305" y="5890840"/>
                </a:lnTo>
                <a:lnTo>
                  <a:pt x="10450510" y="5891816"/>
                </a:lnTo>
                <a:lnTo>
                  <a:pt x="10452593" y="5892914"/>
                </a:lnTo>
                <a:lnTo>
                  <a:pt x="10454799" y="5893768"/>
                </a:lnTo>
                <a:lnTo>
                  <a:pt x="10456882" y="5894745"/>
                </a:lnTo>
                <a:lnTo>
                  <a:pt x="10459210" y="5895599"/>
                </a:lnTo>
                <a:lnTo>
                  <a:pt x="10461538" y="5896331"/>
                </a:lnTo>
                <a:lnTo>
                  <a:pt x="10466072" y="5897796"/>
                </a:lnTo>
                <a:lnTo>
                  <a:pt x="10470605" y="5899138"/>
                </a:lnTo>
                <a:lnTo>
                  <a:pt x="10479795" y="5901212"/>
                </a:lnTo>
                <a:lnTo>
                  <a:pt x="10488740" y="5903287"/>
                </a:lnTo>
                <a:lnTo>
                  <a:pt x="10493029" y="5904141"/>
                </a:lnTo>
                <a:lnTo>
                  <a:pt x="10497072" y="5905118"/>
                </a:lnTo>
                <a:lnTo>
                  <a:pt x="10500993" y="5906094"/>
                </a:lnTo>
                <a:lnTo>
                  <a:pt x="10504669" y="5907314"/>
                </a:lnTo>
                <a:lnTo>
                  <a:pt x="10506384" y="5907924"/>
                </a:lnTo>
                <a:lnTo>
                  <a:pt x="10507977" y="5908535"/>
                </a:lnTo>
                <a:lnTo>
                  <a:pt x="10509693" y="5909267"/>
                </a:lnTo>
                <a:lnTo>
                  <a:pt x="10511041" y="5909877"/>
                </a:lnTo>
                <a:lnTo>
                  <a:pt x="10512388" y="5910731"/>
                </a:lnTo>
                <a:lnTo>
                  <a:pt x="10513736" y="5911585"/>
                </a:lnTo>
                <a:lnTo>
                  <a:pt x="10514962" y="5912440"/>
                </a:lnTo>
                <a:lnTo>
                  <a:pt x="10515942" y="5913416"/>
                </a:lnTo>
                <a:lnTo>
                  <a:pt x="10517045" y="5914392"/>
                </a:lnTo>
                <a:lnTo>
                  <a:pt x="10517902" y="5915490"/>
                </a:lnTo>
                <a:lnTo>
                  <a:pt x="10518638" y="5916589"/>
                </a:lnTo>
                <a:lnTo>
                  <a:pt x="10519128" y="5917809"/>
                </a:lnTo>
                <a:lnTo>
                  <a:pt x="10519618" y="5919029"/>
                </a:lnTo>
                <a:lnTo>
                  <a:pt x="10519985" y="5920494"/>
                </a:lnTo>
                <a:lnTo>
                  <a:pt x="10520230" y="5921958"/>
                </a:lnTo>
                <a:lnTo>
                  <a:pt x="10520230" y="5923423"/>
                </a:lnTo>
                <a:lnTo>
                  <a:pt x="10520230" y="5924643"/>
                </a:lnTo>
                <a:lnTo>
                  <a:pt x="10520108" y="5925741"/>
                </a:lnTo>
                <a:lnTo>
                  <a:pt x="10519863" y="5926718"/>
                </a:lnTo>
                <a:lnTo>
                  <a:pt x="10519618" y="5927572"/>
                </a:lnTo>
                <a:lnTo>
                  <a:pt x="10519250" y="5928670"/>
                </a:lnTo>
                <a:lnTo>
                  <a:pt x="10518883" y="5929524"/>
                </a:lnTo>
                <a:lnTo>
                  <a:pt x="10518392" y="5930379"/>
                </a:lnTo>
                <a:lnTo>
                  <a:pt x="10517902" y="5931111"/>
                </a:lnTo>
                <a:lnTo>
                  <a:pt x="10516432" y="5932819"/>
                </a:lnTo>
                <a:lnTo>
                  <a:pt x="10515084" y="5934040"/>
                </a:lnTo>
                <a:lnTo>
                  <a:pt x="10513369" y="5935260"/>
                </a:lnTo>
                <a:lnTo>
                  <a:pt x="10511531" y="5936358"/>
                </a:lnTo>
                <a:lnTo>
                  <a:pt x="10509693" y="5937335"/>
                </a:lnTo>
                <a:lnTo>
                  <a:pt x="10507610" y="5938067"/>
                </a:lnTo>
                <a:lnTo>
                  <a:pt x="10505404" y="5938799"/>
                </a:lnTo>
                <a:lnTo>
                  <a:pt x="10503321" y="5939287"/>
                </a:lnTo>
                <a:lnTo>
                  <a:pt x="10501238" y="5939653"/>
                </a:lnTo>
                <a:lnTo>
                  <a:pt x="10499155" y="5940019"/>
                </a:lnTo>
                <a:lnTo>
                  <a:pt x="10497072" y="5940141"/>
                </a:lnTo>
                <a:lnTo>
                  <a:pt x="10495234" y="5940141"/>
                </a:lnTo>
                <a:lnTo>
                  <a:pt x="10491558" y="5940019"/>
                </a:lnTo>
                <a:lnTo>
                  <a:pt x="10487637" y="5939653"/>
                </a:lnTo>
                <a:lnTo>
                  <a:pt x="10483716" y="5939165"/>
                </a:lnTo>
                <a:lnTo>
                  <a:pt x="10479428" y="5938311"/>
                </a:lnTo>
                <a:lnTo>
                  <a:pt x="10475384" y="5937335"/>
                </a:lnTo>
                <a:lnTo>
                  <a:pt x="10471218" y="5936114"/>
                </a:lnTo>
                <a:lnTo>
                  <a:pt x="10467052" y="5934772"/>
                </a:lnTo>
                <a:lnTo>
                  <a:pt x="10462886" y="5933307"/>
                </a:lnTo>
                <a:lnTo>
                  <a:pt x="10458720" y="5931599"/>
                </a:lnTo>
                <a:lnTo>
                  <a:pt x="10454676" y="5929890"/>
                </a:lnTo>
                <a:lnTo>
                  <a:pt x="10450755" y="5927938"/>
                </a:lnTo>
                <a:lnTo>
                  <a:pt x="10446834" y="5926107"/>
                </a:lnTo>
                <a:lnTo>
                  <a:pt x="10443158" y="5924155"/>
                </a:lnTo>
                <a:lnTo>
                  <a:pt x="10439605" y="5922080"/>
                </a:lnTo>
                <a:lnTo>
                  <a:pt x="10436297" y="5920128"/>
                </a:lnTo>
                <a:lnTo>
                  <a:pt x="10433111" y="5917931"/>
                </a:lnTo>
                <a:lnTo>
                  <a:pt x="10404561" y="5972358"/>
                </a:lnTo>
                <a:lnTo>
                  <a:pt x="10409585" y="5975409"/>
                </a:lnTo>
                <a:lnTo>
                  <a:pt x="10414854" y="5978094"/>
                </a:lnTo>
                <a:lnTo>
                  <a:pt x="10420000" y="5980779"/>
                </a:lnTo>
                <a:lnTo>
                  <a:pt x="10425514" y="5983097"/>
                </a:lnTo>
                <a:lnTo>
                  <a:pt x="10430783" y="5985416"/>
                </a:lnTo>
                <a:lnTo>
                  <a:pt x="10436297" y="5987368"/>
                </a:lnTo>
                <a:lnTo>
                  <a:pt x="10441810" y="5989443"/>
                </a:lnTo>
                <a:lnTo>
                  <a:pt x="10447569" y="5991029"/>
                </a:lnTo>
                <a:lnTo>
                  <a:pt x="10453083" y="5992616"/>
                </a:lnTo>
                <a:lnTo>
                  <a:pt x="10458842" y="5993958"/>
                </a:lnTo>
                <a:lnTo>
                  <a:pt x="10464601" y="5994934"/>
                </a:lnTo>
                <a:lnTo>
                  <a:pt x="10470483" y="5995911"/>
                </a:lnTo>
                <a:lnTo>
                  <a:pt x="10476242" y="5996765"/>
                </a:lnTo>
                <a:lnTo>
                  <a:pt x="10482123" y="5997253"/>
                </a:lnTo>
                <a:lnTo>
                  <a:pt x="10488005" y="5997497"/>
                </a:lnTo>
                <a:lnTo>
                  <a:pt x="10493886" y="5997619"/>
                </a:lnTo>
                <a:lnTo>
                  <a:pt x="10498787" y="5997497"/>
                </a:lnTo>
                <a:lnTo>
                  <a:pt x="10503566" y="5997375"/>
                </a:lnTo>
                <a:lnTo>
                  <a:pt x="10508467" y="5997009"/>
                </a:lnTo>
                <a:lnTo>
                  <a:pt x="10513369" y="5996521"/>
                </a:lnTo>
                <a:lnTo>
                  <a:pt x="10518147" y="5995789"/>
                </a:lnTo>
                <a:lnTo>
                  <a:pt x="10522804" y="5994934"/>
                </a:lnTo>
                <a:lnTo>
                  <a:pt x="10527460" y="5994080"/>
                </a:lnTo>
                <a:lnTo>
                  <a:pt x="10532238" y="5992982"/>
                </a:lnTo>
                <a:lnTo>
                  <a:pt x="10536772" y="5991640"/>
                </a:lnTo>
                <a:lnTo>
                  <a:pt x="10541183" y="5990297"/>
                </a:lnTo>
                <a:lnTo>
                  <a:pt x="10545594" y="5988711"/>
                </a:lnTo>
                <a:lnTo>
                  <a:pt x="10549883" y="5986880"/>
                </a:lnTo>
                <a:lnTo>
                  <a:pt x="10554172" y="5985050"/>
                </a:lnTo>
                <a:lnTo>
                  <a:pt x="10558215" y="5982975"/>
                </a:lnTo>
                <a:lnTo>
                  <a:pt x="10562136" y="5980779"/>
                </a:lnTo>
                <a:lnTo>
                  <a:pt x="10565935" y="5978338"/>
                </a:lnTo>
                <a:lnTo>
                  <a:pt x="10569488" y="5975897"/>
                </a:lnTo>
                <a:lnTo>
                  <a:pt x="10573041" y="5973090"/>
                </a:lnTo>
                <a:lnTo>
                  <a:pt x="10576350" y="5970162"/>
                </a:lnTo>
                <a:lnTo>
                  <a:pt x="10579290" y="5967111"/>
                </a:lnTo>
                <a:lnTo>
                  <a:pt x="10582231" y="5963816"/>
                </a:lnTo>
                <a:lnTo>
                  <a:pt x="10585049" y="5960399"/>
                </a:lnTo>
                <a:lnTo>
                  <a:pt x="10587623" y="5956738"/>
                </a:lnTo>
                <a:lnTo>
                  <a:pt x="10589828" y="5952955"/>
                </a:lnTo>
                <a:lnTo>
                  <a:pt x="10591911" y="5948928"/>
                </a:lnTo>
                <a:lnTo>
                  <a:pt x="10593627" y="5944779"/>
                </a:lnTo>
                <a:lnTo>
                  <a:pt x="10595342" y="5940385"/>
                </a:lnTo>
                <a:lnTo>
                  <a:pt x="10596567" y="5935870"/>
                </a:lnTo>
                <a:lnTo>
                  <a:pt x="10597548" y="5931111"/>
                </a:lnTo>
                <a:lnTo>
                  <a:pt x="10598405" y="5926229"/>
                </a:lnTo>
                <a:lnTo>
                  <a:pt x="10598773" y="5921104"/>
                </a:lnTo>
                <a:lnTo>
                  <a:pt x="10599018" y="5915857"/>
                </a:lnTo>
                <a:lnTo>
                  <a:pt x="10598895" y="5912074"/>
                </a:lnTo>
                <a:lnTo>
                  <a:pt x="10598650" y="5908412"/>
                </a:lnTo>
                <a:lnTo>
                  <a:pt x="10598283" y="5904996"/>
                </a:lnTo>
                <a:lnTo>
                  <a:pt x="10597670" y="5901579"/>
                </a:lnTo>
                <a:lnTo>
                  <a:pt x="10596935" y="5898406"/>
                </a:lnTo>
                <a:lnTo>
                  <a:pt x="10596200" y="5895355"/>
                </a:lnTo>
                <a:lnTo>
                  <a:pt x="10595220" y="5892304"/>
                </a:lnTo>
                <a:lnTo>
                  <a:pt x="10593994" y="5889375"/>
                </a:lnTo>
                <a:lnTo>
                  <a:pt x="10592769" y="5886813"/>
                </a:lnTo>
                <a:lnTo>
                  <a:pt x="10591421" y="5884128"/>
                </a:lnTo>
                <a:lnTo>
                  <a:pt x="10589828" y="5881687"/>
                </a:lnTo>
                <a:lnTo>
                  <a:pt x="10588235" y="5879246"/>
                </a:lnTo>
                <a:lnTo>
                  <a:pt x="10586397" y="5876928"/>
                </a:lnTo>
                <a:lnTo>
                  <a:pt x="10584682" y="5874731"/>
                </a:lnTo>
                <a:lnTo>
                  <a:pt x="10582599" y="5872657"/>
                </a:lnTo>
                <a:lnTo>
                  <a:pt x="10580516" y="5870704"/>
                </a:lnTo>
                <a:lnTo>
                  <a:pt x="10578310" y="5868874"/>
                </a:lnTo>
                <a:lnTo>
                  <a:pt x="10576105" y="5867043"/>
                </a:lnTo>
                <a:lnTo>
                  <a:pt x="10573654" y="5865335"/>
                </a:lnTo>
                <a:lnTo>
                  <a:pt x="10571081" y="5863748"/>
                </a:lnTo>
                <a:lnTo>
                  <a:pt x="10568385" y="5862284"/>
                </a:lnTo>
                <a:lnTo>
                  <a:pt x="10565812" y="5860819"/>
                </a:lnTo>
                <a:lnTo>
                  <a:pt x="10562994" y="5859477"/>
                </a:lnTo>
                <a:lnTo>
                  <a:pt x="10560053" y="5858135"/>
                </a:lnTo>
                <a:lnTo>
                  <a:pt x="10557112" y="5857036"/>
                </a:lnTo>
                <a:lnTo>
                  <a:pt x="10554172" y="5855938"/>
                </a:lnTo>
                <a:lnTo>
                  <a:pt x="10551108" y="5854840"/>
                </a:lnTo>
                <a:lnTo>
                  <a:pt x="10547922" y="5853863"/>
                </a:lnTo>
                <a:lnTo>
                  <a:pt x="10544614" y="5853009"/>
                </a:lnTo>
                <a:lnTo>
                  <a:pt x="10541306" y="5852155"/>
                </a:lnTo>
                <a:lnTo>
                  <a:pt x="10537997" y="5851301"/>
                </a:lnTo>
                <a:lnTo>
                  <a:pt x="10534567" y="5850568"/>
                </a:lnTo>
                <a:lnTo>
                  <a:pt x="10529910" y="5849836"/>
                </a:lnTo>
                <a:lnTo>
                  <a:pt x="10524397" y="5848860"/>
                </a:lnTo>
                <a:lnTo>
                  <a:pt x="10521456" y="5848250"/>
                </a:lnTo>
                <a:lnTo>
                  <a:pt x="10518515" y="5847640"/>
                </a:lnTo>
                <a:lnTo>
                  <a:pt x="10515452" y="5846785"/>
                </a:lnTo>
                <a:lnTo>
                  <a:pt x="10512511" y="5845809"/>
                </a:lnTo>
                <a:lnTo>
                  <a:pt x="10509815" y="5844833"/>
                </a:lnTo>
                <a:lnTo>
                  <a:pt x="10507120" y="5843613"/>
                </a:lnTo>
                <a:lnTo>
                  <a:pt x="10506017" y="5842758"/>
                </a:lnTo>
                <a:lnTo>
                  <a:pt x="10504792" y="5842026"/>
                </a:lnTo>
                <a:lnTo>
                  <a:pt x="10503689" y="5841294"/>
                </a:lnTo>
                <a:lnTo>
                  <a:pt x="10502708" y="5840440"/>
                </a:lnTo>
                <a:lnTo>
                  <a:pt x="10501728" y="5839585"/>
                </a:lnTo>
                <a:lnTo>
                  <a:pt x="10500993" y="5838487"/>
                </a:lnTo>
                <a:lnTo>
                  <a:pt x="10500258" y="5837511"/>
                </a:lnTo>
                <a:lnTo>
                  <a:pt x="10499768" y="5836413"/>
                </a:lnTo>
                <a:lnTo>
                  <a:pt x="10499278" y="5835314"/>
                </a:lnTo>
                <a:lnTo>
                  <a:pt x="10498910" y="5833972"/>
                </a:lnTo>
                <a:lnTo>
                  <a:pt x="10498787" y="5832752"/>
                </a:lnTo>
                <a:lnTo>
                  <a:pt x="10498665" y="5831409"/>
                </a:lnTo>
                <a:lnTo>
                  <a:pt x="10498665" y="5830433"/>
                </a:lnTo>
                <a:lnTo>
                  <a:pt x="10498787" y="5829335"/>
                </a:lnTo>
                <a:lnTo>
                  <a:pt x="10499033" y="5828480"/>
                </a:lnTo>
                <a:lnTo>
                  <a:pt x="10499400" y="5827504"/>
                </a:lnTo>
                <a:lnTo>
                  <a:pt x="10499768" y="5826772"/>
                </a:lnTo>
                <a:lnTo>
                  <a:pt x="10500135" y="5825796"/>
                </a:lnTo>
                <a:lnTo>
                  <a:pt x="10500625" y="5825063"/>
                </a:lnTo>
                <a:lnTo>
                  <a:pt x="10501238" y="5824331"/>
                </a:lnTo>
                <a:lnTo>
                  <a:pt x="10502586" y="5822989"/>
                </a:lnTo>
                <a:lnTo>
                  <a:pt x="10504179" y="5821646"/>
                </a:lnTo>
                <a:lnTo>
                  <a:pt x="10505894" y="5820670"/>
                </a:lnTo>
                <a:lnTo>
                  <a:pt x="10507732" y="5819694"/>
                </a:lnTo>
                <a:lnTo>
                  <a:pt x="10509815" y="5818962"/>
                </a:lnTo>
                <a:lnTo>
                  <a:pt x="10511776" y="5818229"/>
                </a:lnTo>
                <a:lnTo>
                  <a:pt x="10513859" y="5817741"/>
                </a:lnTo>
                <a:lnTo>
                  <a:pt x="10515942" y="5817131"/>
                </a:lnTo>
                <a:lnTo>
                  <a:pt x="10518025" y="5816765"/>
                </a:lnTo>
                <a:lnTo>
                  <a:pt x="10519985" y="5816521"/>
                </a:lnTo>
                <a:lnTo>
                  <a:pt x="10521946" y="5816399"/>
                </a:lnTo>
                <a:lnTo>
                  <a:pt x="10523784" y="5816399"/>
                </a:lnTo>
                <a:lnTo>
                  <a:pt x="10526357" y="5816399"/>
                </a:lnTo>
                <a:lnTo>
                  <a:pt x="10528930" y="5816521"/>
                </a:lnTo>
                <a:lnTo>
                  <a:pt x="10531503" y="5816765"/>
                </a:lnTo>
                <a:lnTo>
                  <a:pt x="10534322" y="5817131"/>
                </a:lnTo>
                <a:lnTo>
                  <a:pt x="10537140" y="5817497"/>
                </a:lnTo>
                <a:lnTo>
                  <a:pt x="10539835" y="5818107"/>
                </a:lnTo>
                <a:lnTo>
                  <a:pt x="10542531" y="5818718"/>
                </a:lnTo>
                <a:lnTo>
                  <a:pt x="10545349" y="5819328"/>
                </a:lnTo>
                <a:lnTo>
                  <a:pt x="10548168" y="5820060"/>
                </a:lnTo>
                <a:lnTo>
                  <a:pt x="10550986" y="5820914"/>
                </a:lnTo>
                <a:lnTo>
                  <a:pt x="10553559" y="5821890"/>
                </a:lnTo>
                <a:lnTo>
                  <a:pt x="10556255" y="5822745"/>
                </a:lnTo>
                <a:lnTo>
                  <a:pt x="10558828" y="5823721"/>
                </a:lnTo>
                <a:lnTo>
                  <a:pt x="10561401" y="5824819"/>
                </a:lnTo>
                <a:lnTo>
                  <a:pt x="10563729" y="5825918"/>
                </a:lnTo>
                <a:lnTo>
                  <a:pt x="10566180" y="5827138"/>
                </a:lnTo>
                <a:lnTo>
                  <a:pt x="10592524" y="5777470"/>
                </a:lnTo>
                <a:lnTo>
                  <a:pt x="10588113" y="5775640"/>
                </a:lnTo>
                <a:lnTo>
                  <a:pt x="10583824" y="5773809"/>
                </a:lnTo>
                <a:lnTo>
                  <a:pt x="10579290" y="5772345"/>
                </a:lnTo>
                <a:lnTo>
                  <a:pt x="10574879" y="5771002"/>
                </a:lnTo>
                <a:lnTo>
                  <a:pt x="10570468" y="5769538"/>
                </a:lnTo>
                <a:lnTo>
                  <a:pt x="10565935" y="5768440"/>
                </a:lnTo>
                <a:lnTo>
                  <a:pt x="10561401" y="5767463"/>
                </a:lnTo>
                <a:lnTo>
                  <a:pt x="10556745" y="5766487"/>
                </a:lnTo>
                <a:lnTo>
                  <a:pt x="10552211" y="5765755"/>
                </a:lnTo>
                <a:lnTo>
                  <a:pt x="10547555" y="5765023"/>
                </a:lnTo>
                <a:lnTo>
                  <a:pt x="10542899" y="5764535"/>
                </a:lnTo>
                <a:lnTo>
                  <a:pt x="10538120" y="5764046"/>
                </a:lnTo>
                <a:lnTo>
                  <a:pt x="10533586" y="5763802"/>
                </a:lnTo>
                <a:lnTo>
                  <a:pt x="10528930" y="5763558"/>
                </a:lnTo>
                <a:lnTo>
                  <a:pt x="10524029" y="5763436"/>
                </a:lnTo>
                <a:close/>
                <a:moveTo>
                  <a:pt x="10231684" y="5763314"/>
                </a:moveTo>
                <a:lnTo>
                  <a:pt x="10225676" y="5763436"/>
                </a:lnTo>
                <a:lnTo>
                  <a:pt x="10219668" y="5763803"/>
                </a:lnTo>
                <a:lnTo>
                  <a:pt x="10213906" y="5764657"/>
                </a:lnTo>
                <a:lnTo>
                  <a:pt x="10208143" y="5765634"/>
                </a:lnTo>
                <a:lnTo>
                  <a:pt x="10202626" y="5767099"/>
                </a:lnTo>
                <a:lnTo>
                  <a:pt x="10197108" y="5768687"/>
                </a:lnTo>
                <a:lnTo>
                  <a:pt x="10191959" y="5770518"/>
                </a:lnTo>
                <a:lnTo>
                  <a:pt x="10186687" y="5772716"/>
                </a:lnTo>
                <a:lnTo>
                  <a:pt x="10181782" y="5775158"/>
                </a:lnTo>
                <a:lnTo>
                  <a:pt x="10177001" y="5777722"/>
                </a:lnTo>
                <a:lnTo>
                  <a:pt x="10172219" y="5780652"/>
                </a:lnTo>
                <a:lnTo>
                  <a:pt x="10167805" y="5783705"/>
                </a:lnTo>
                <a:lnTo>
                  <a:pt x="10163514" y="5787001"/>
                </a:lnTo>
                <a:lnTo>
                  <a:pt x="10159468" y="5790542"/>
                </a:lnTo>
                <a:lnTo>
                  <a:pt x="10155544" y="5794205"/>
                </a:lnTo>
                <a:lnTo>
                  <a:pt x="10151743" y="5798112"/>
                </a:lnTo>
                <a:lnTo>
                  <a:pt x="10148188" y="5802263"/>
                </a:lnTo>
                <a:lnTo>
                  <a:pt x="10144755" y="5806537"/>
                </a:lnTo>
                <a:lnTo>
                  <a:pt x="10141567" y="5810932"/>
                </a:lnTo>
                <a:lnTo>
                  <a:pt x="10138624" y="5815572"/>
                </a:lnTo>
                <a:lnTo>
                  <a:pt x="10135927" y="5820334"/>
                </a:lnTo>
                <a:lnTo>
                  <a:pt x="10133352" y="5825218"/>
                </a:lnTo>
                <a:lnTo>
                  <a:pt x="10131022" y="5830346"/>
                </a:lnTo>
                <a:lnTo>
                  <a:pt x="10129061" y="5835474"/>
                </a:lnTo>
                <a:lnTo>
                  <a:pt x="10127099" y="5840724"/>
                </a:lnTo>
                <a:lnTo>
                  <a:pt x="10125505" y="5845974"/>
                </a:lnTo>
                <a:lnTo>
                  <a:pt x="10124034" y="5851591"/>
                </a:lnTo>
                <a:lnTo>
                  <a:pt x="10122930" y="5857085"/>
                </a:lnTo>
                <a:lnTo>
                  <a:pt x="10122072" y="5862824"/>
                </a:lnTo>
                <a:lnTo>
                  <a:pt x="10121459" y="5868562"/>
                </a:lnTo>
                <a:lnTo>
                  <a:pt x="10120969" y="5874301"/>
                </a:lnTo>
                <a:lnTo>
                  <a:pt x="10120846" y="5880162"/>
                </a:lnTo>
                <a:lnTo>
                  <a:pt x="10120969" y="5886144"/>
                </a:lnTo>
                <a:lnTo>
                  <a:pt x="10121459" y="5891883"/>
                </a:lnTo>
                <a:lnTo>
                  <a:pt x="10122072" y="5897621"/>
                </a:lnTo>
                <a:lnTo>
                  <a:pt x="10122930" y="5903360"/>
                </a:lnTo>
                <a:lnTo>
                  <a:pt x="10124156" y="5908854"/>
                </a:lnTo>
                <a:lnTo>
                  <a:pt x="10125628" y="5914349"/>
                </a:lnTo>
                <a:lnTo>
                  <a:pt x="10127222" y="5919843"/>
                </a:lnTo>
                <a:lnTo>
                  <a:pt x="10129183" y="5925093"/>
                </a:lnTo>
                <a:lnTo>
                  <a:pt x="10131145" y="5930221"/>
                </a:lnTo>
                <a:lnTo>
                  <a:pt x="10133597" y="5935227"/>
                </a:lnTo>
                <a:lnTo>
                  <a:pt x="10136172" y="5940111"/>
                </a:lnTo>
                <a:lnTo>
                  <a:pt x="10138869" y="5944873"/>
                </a:lnTo>
                <a:lnTo>
                  <a:pt x="10141935" y="5949635"/>
                </a:lnTo>
                <a:lnTo>
                  <a:pt x="10145122" y="5954030"/>
                </a:lnTo>
                <a:lnTo>
                  <a:pt x="10148555" y="5958426"/>
                </a:lnTo>
                <a:lnTo>
                  <a:pt x="10152111" y="5962455"/>
                </a:lnTo>
                <a:lnTo>
                  <a:pt x="10155912" y="5966484"/>
                </a:lnTo>
                <a:lnTo>
                  <a:pt x="10159958" y="5970025"/>
                </a:lnTo>
                <a:lnTo>
                  <a:pt x="10164004" y="5973688"/>
                </a:lnTo>
                <a:lnTo>
                  <a:pt x="10168418" y="5976985"/>
                </a:lnTo>
                <a:lnTo>
                  <a:pt x="10172955" y="5980159"/>
                </a:lnTo>
                <a:lnTo>
                  <a:pt x="10177614" y="5982968"/>
                </a:lnTo>
                <a:lnTo>
                  <a:pt x="10182518" y="5985654"/>
                </a:lnTo>
                <a:lnTo>
                  <a:pt x="10187422" y="5988096"/>
                </a:lnTo>
                <a:lnTo>
                  <a:pt x="10192694" y="5990171"/>
                </a:lnTo>
                <a:lnTo>
                  <a:pt x="10197844" y="5992125"/>
                </a:lnTo>
                <a:lnTo>
                  <a:pt x="10203361" y="5993712"/>
                </a:lnTo>
                <a:lnTo>
                  <a:pt x="10209001" y="5995055"/>
                </a:lnTo>
                <a:lnTo>
                  <a:pt x="10214764" y="5996276"/>
                </a:lnTo>
                <a:lnTo>
                  <a:pt x="10220527" y="5997009"/>
                </a:lnTo>
                <a:lnTo>
                  <a:pt x="10226534" y="5997375"/>
                </a:lnTo>
                <a:lnTo>
                  <a:pt x="10232665" y="5997619"/>
                </a:lnTo>
                <a:lnTo>
                  <a:pt x="10237446" y="5997497"/>
                </a:lnTo>
                <a:lnTo>
                  <a:pt x="10242351" y="5997131"/>
                </a:lnTo>
                <a:lnTo>
                  <a:pt x="10247255" y="5996520"/>
                </a:lnTo>
                <a:lnTo>
                  <a:pt x="10252037" y="5995666"/>
                </a:lnTo>
                <a:lnTo>
                  <a:pt x="10254489" y="5995177"/>
                </a:lnTo>
                <a:lnTo>
                  <a:pt x="10256819" y="5994567"/>
                </a:lnTo>
                <a:lnTo>
                  <a:pt x="10259148" y="5993956"/>
                </a:lnTo>
                <a:lnTo>
                  <a:pt x="10261600" y="5993346"/>
                </a:lnTo>
                <a:lnTo>
                  <a:pt x="10263807" y="5992613"/>
                </a:lnTo>
                <a:lnTo>
                  <a:pt x="10266137" y="5991636"/>
                </a:lnTo>
                <a:lnTo>
                  <a:pt x="10268344" y="5990782"/>
                </a:lnTo>
                <a:lnTo>
                  <a:pt x="10270673" y="5989927"/>
                </a:lnTo>
                <a:lnTo>
                  <a:pt x="10272880" y="5988950"/>
                </a:lnTo>
                <a:lnTo>
                  <a:pt x="10274965" y="5987851"/>
                </a:lnTo>
                <a:lnTo>
                  <a:pt x="10277049" y="5986630"/>
                </a:lnTo>
                <a:lnTo>
                  <a:pt x="10279133" y="5985409"/>
                </a:lnTo>
                <a:lnTo>
                  <a:pt x="10281218" y="5984189"/>
                </a:lnTo>
                <a:lnTo>
                  <a:pt x="10283057" y="5982845"/>
                </a:lnTo>
                <a:lnTo>
                  <a:pt x="10285018" y="5981502"/>
                </a:lnTo>
                <a:lnTo>
                  <a:pt x="10286858" y="5980037"/>
                </a:lnTo>
                <a:lnTo>
                  <a:pt x="10288697" y="5978450"/>
                </a:lnTo>
                <a:lnTo>
                  <a:pt x="10290413" y="5976863"/>
                </a:lnTo>
                <a:lnTo>
                  <a:pt x="10292130" y="5975275"/>
                </a:lnTo>
                <a:lnTo>
                  <a:pt x="10293724" y="5973444"/>
                </a:lnTo>
                <a:lnTo>
                  <a:pt x="10295318" y="5971612"/>
                </a:lnTo>
                <a:lnTo>
                  <a:pt x="10296789" y="5969659"/>
                </a:lnTo>
                <a:lnTo>
                  <a:pt x="10298138" y="5967827"/>
                </a:lnTo>
                <a:lnTo>
                  <a:pt x="10299609" y="5965752"/>
                </a:lnTo>
                <a:lnTo>
                  <a:pt x="10300467" y="5965752"/>
                </a:lnTo>
                <a:lnTo>
                  <a:pt x="10300467" y="5990415"/>
                </a:lnTo>
                <a:lnTo>
                  <a:pt x="10379059" y="5990415"/>
                </a:lnTo>
                <a:lnTo>
                  <a:pt x="10379059" y="5770274"/>
                </a:lnTo>
                <a:lnTo>
                  <a:pt x="10300467" y="5770274"/>
                </a:lnTo>
                <a:lnTo>
                  <a:pt x="10300467" y="5791885"/>
                </a:lnTo>
                <a:lnTo>
                  <a:pt x="10298873" y="5790176"/>
                </a:lnTo>
                <a:lnTo>
                  <a:pt x="10297157" y="5788588"/>
                </a:lnTo>
                <a:lnTo>
                  <a:pt x="10295563" y="5786757"/>
                </a:lnTo>
                <a:lnTo>
                  <a:pt x="10293724" y="5785292"/>
                </a:lnTo>
                <a:lnTo>
                  <a:pt x="10292007" y="5783705"/>
                </a:lnTo>
                <a:lnTo>
                  <a:pt x="10290168" y="5782117"/>
                </a:lnTo>
                <a:lnTo>
                  <a:pt x="10288329" y="5780774"/>
                </a:lnTo>
                <a:lnTo>
                  <a:pt x="10286367" y="5779431"/>
                </a:lnTo>
                <a:lnTo>
                  <a:pt x="10284405" y="5777966"/>
                </a:lnTo>
                <a:lnTo>
                  <a:pt x="10282321" y="5776745"/>
                </a:lnTo>
                <a:lnTo>
                  <a:pt x="10280359" y="5775646"/>
                </a:lnTo>
                <a:lnTo>
                  <a:pt x="10278152" y="5774425"/>
                </a:lnTo>
                <a:lnTo>
                  <a:pt x="10275945" y="5773326"/>
                </a:lnTo>
                <a:lnTo>
                  <a:pt x="10273861" y="5772349"/>
                </a:lnTo>
                <a:lnTo>
                  <a:pt x="10271654" y="5771373"/>
                </a:lnTo>
                <a:lnTo>
                  <a:pt x="10269570" y="5770274"/>
                </a:lnTo>
                <a:lnTo>
                  <a:pt x="10264911" y="5768687"/>
                </a:lnTo>
                <a:lnTo>
                  <a:pt x="10260374" y="5767221"/>
                </a:lnTo>
                <a:lnTo>
                  <a:pt x="10255715" y="5766000"/>
                </a:lnTo>
                <a:lnTo>
                  <a:pt x="10250933" y="5765024"/>
                </a:lnTo>
                <a:lnTo>
                  <a:pt x="10246152" y="5764291"/>
                </a:lnTo>
                <a:lnTo>
                  <a:pt x="10241370" y="5763681"/>
                </a:lnTo>
                <a:lnTo>
                  <a:pt x="10236588" y="5763314"/>
                </a:lnTo>
                <a:close/>
                <a:moveTo>
                  <a:pt x="9937546" y="5729842"/>
                </a:moveTo>
                <a:lnTo>
                  <a:pt x="9943408" y="5729842"/>
                </a:lnTo>
                <a:lnTo>
                  <a:pt x="9947595" y="5729965"/>
                </a:lnTo>
                <a:lnTo>
                  <a:pt x="9952021" y="5729965"/>
                </a:lnTo>
                <a:lnTo>
                  <a:pt x="9956208" y="5730211"/>
                </a:lnTo>
                <a:lnTo>
                  <a:pt x="9960396" y="5730581"/>
                </a:lnTo>
                <a:lnTo>
                  <a:pt x="9964583" y="5731319"/>
                </a:lnTo>
                <a:lnTo>
                  <a:pt x="9968531" y="5732058"/>
                </a:lnTo>
                <a:lnTo>
                  <a:pt x="9970445" y="5732550"/>
                </a:lnTo>
                <a:lnTo>
                  <a:pt x="9972359" y="5733165"/>
                </a:lnTo>
                <a:lnTo>
                  <a:pt x="9974273" y="5733781"/>
                </a:lnTo>
                <a:lnTo>
                  <a:pt x="9975948" y="5734519"/>
                </a:lnTo>
                <a:lnTo>
                  <a:pt x="9977742" y="5735258"/>
                </a:lnTo>
                <a:lnTo>
                  <a:pt x="9979297" y="5736366"/>
                </a:lnTo>
                <a:lnTo>
                  <a:pt x="9980853" y="5737350"/>
                </a:lnTo>
                <a:lnTo>
                  <a:pt x="9982288" y="5738458"/>
                </a:lnTo>
                <a:lnTo>
                  <a:pt x="9983604" y="5739566"/>
                </a:lnTo>
                <a:lnTo>
                  <a:pt x="9985040" y="5741043"/>
                </a:lnTo>
                <a:lnTo>
                  <a:pt x="9986236" y="5742520"/>
                </a:lnTo>
                <a:lnTo>
                  <a:pt x="9987193" y="5743997"/>
                </a:lnTo>
                <a:lnTo>
                  <a:pt x="9988270" y="5745843"/>
                </a:lnTo>
                <a:lnTo>
                  <a:pt x="9989107" y="5747566"/>
                </a:lnTo>
                <a:lnTo>
                  <a:pt x="9989825" y="5749658"/>
                </a:lnTo>
                <a:lnTo>
                  <a:pt x="9990543" y="5751751"/>
                </a:lnTo>
                <a:lnTo>
                  <a:pt x="9991141" y="5754089"/>
                </a:lnTo>
                <a:lnTo>
                  <a:pt x="9991380" y="5756428"/>
                </a:lnTo>
                <a:lnTo>
                  <a:pt x="9991619" y="5759012"/>
                </a:lnTo>
                <a:lnTo>
                  <a:pt x="9991739" y="5761843"/>
                </a:lnTo>
                <a:lnTo>
                  <a:pt x="9991619" y="5764305"/>
                </a:lnTo>
                <a:lnTo>
                  <a:pt x="9991500" y="5766767"/>
                </a:lnTo>
                <a:lnTo>
                  <a:pt x="9991141" y="5768982"/>
                </a:lnTo>
                <a:lnTo>
                  <a:pt x="9990662" y="5771197"/>
                </a:lnTo>
                <a:lnTo>
                  <a:pt x="9990064" y="5773167"/>
                </a:lnTo>
                <a:lnTo>
                  <a:pt x="9989466" y="5775136"/>
                </a:lnTo>
                <a:lnTo>
                  <a:pt x="9988629" y="5776859"/>
                </a:lnTo>
                <a:lnTo>
                  <a:pt x="9987791" y="5778582"/>
                </a:lnTo>
                <a:lnTo>
                  <a:pt x="9986714" y="5780059"/>
                </a:lnTo>
                <a:lnTo>
                  <a:pt x="9985757" y="5781536"/>
                </a:lnTo>
                <a:lnTo>
                  <a:pt x="9984561" y="5782890"/>
                </a:lnTo>
                <a:lnTo>
                  <a:pt x="9983245" y="5784121"/>
                </a:lnTo>
                <a:lnTo>
                  <a:pt x="9981929" y="5785229"/>
                </a:lnTo>
                <a:lnTo>
                  <a:pt x="9980613" y="5786213"/>
                </a:lnTo>
                <a:lnTo>
                  <a:pt x="9979058" y="5787321"/>
                </a:lnTo>
                <a:lnTo>
                  <a:pt x="9977503" y="5788183"/>
                </a:lnTo>
                <a:lnTo>
                  <a:pt x="9975828" y="5788921"/>
                </a:lnTo>
                <a:lnTo>
                  <a:pt x="9974273" y="5789660"/>
                </a:lnTo>
                <a:lnTo>
                  <a:pt x="9972478" y="5790275"/>
                </a:lnTo>
                <a:lnTo>
                  <a:pt x="9970684" y="5790890"/>
                </a:lnTo>
                <a:lnTo>
                  <a:pt x="9968770" y="5791506"/>
                </a:lnTo>
                <a:lnTo>
                  <a:pt x="9966975" y="5791875"/>
                </a:lnTo>
                <a:lnTo>
                  <a:pt x="9965061" y="5792244"/>
                </a:lnTo>
                <a:lnTo>
                  <a:pt x="9963147" y="5792614"/>
                </a:lnTo>
                <a:lnTo>
                  <a:pt x="9959199" y="5793106"/>
                </a:lnTo>
                <a:lnTo>
                  <a:pt x="9955132" y="5793352"/>
                </a:lnTo>
                <a:lnTo>
                  <a:pt x="9950945" y="5793598"/>
                </a:lnTo>
                <a:lnTo>
                  <a:pt x="9946758" y="5793598"/>
                </a:lnTo>
                <a:lnTo>
                  <a:pt x="9937546" y="5793598"/>
                </a:lnTo>
                <a:close/>
                <a:moveTo>
                  <a:pt x="9851475" y="5666086"/>
                </a:moveTo>
                <a:lnTo>
                  <a:pt x="9851475" y="5991243"/>
                </a:lnTo>
                <a:lnTo>
                  <a:pt x="9982182" y="5991243"/>
                </a:lnTo>
                <a:lnTo>
                  <a:pt x="9987828" y="5991120"/>
                </a:lnTo>
                <a:lnTo>
                  <a:pt x="9993350" y="5990998"/>
                </a:lnTo>
                <a:lnTo>
                  <a:pt x="9998996" y="5990629"/>
                </a:lnTo>
                <a:lnTo>
                  <a:pt x="10004396" y="5990139"/>
                </a:lnTo>
                <a:lnTo>
                  <a:pt x="10009919" y="5989525"/>
                </a:lnTo>
                <a:lnTo>
                  <a:pt x="10015196" y="5988788"/>
                </a:lnTo>
                <a:lnTo>
                  <a:pt x="10020474" y="5987806"/>
                </a:lnTo>
                <a:lnTo>
                  <a:pt x="10025874" y="5986702"/>
                </a:lnTo>
                <a:lnTo>
                  <a:pt x="10030906" y="5985474"/>
                </a:lnTo>
                <a:lnTo>
                  <a:pt x="10036060" y="5984124"/>
                </a:lnTo>
                <a:lnTo>
                  <a:pt x="10040969" y="5982405"/>
                </a:lnTo>
                <a:lnTo>
                  <a:pt x="10045756" y="5980687"/>
                </a:lnTo>
                <a:lnTo>
                  <a:pt x="10050297" y="5978600"/>
                </a:lnTo>
                <a:lnTo>
                  <a:pt x="10054961" y="5976514"/>
                </a:lnTo>
                <a:lnTo>
                  <a:pt x="10059379" y="5974059"/>
                </a:lnTo>
                <a:lnTo>
                  <a:pt x="10063552" y="5971604"/>
                </a:lnTo>
                <a:lnTo>
                  <a:pt x="10067602" y="5968903"/>
                </a:lnTo>
                <a:lnTo>
                  <a:pt x="10071406" y="5965835"/>
                </a:lnTo>
                <a:lnTo>
                  <a:pt x="10075088" y="5962889"/>
                </a:lnTo>
                <a:lnTo>
                  <a:pt x="10078525" y="5959452"/>
                </a:lnTo>
                <a:lnTo>
                  <a:pt x="10081838" y="5955892"/>
                </a:lnTo>
                <a:lnTo>
                  <a:pt x="10084784" y="5951964"/>
                </a:lnTo>
                <a:lnTo>
                  <a:pt x="10087607" y="5948036"/>
                </a:lnTo>
                <a:lnTo>
                  <a:pt x="10090061" y="5943740"/>
                </a:lnTo>
                <a:lnTo>
                  <a:pt x="10092393" y="5939321"/>
                </a:lnTo>
                <a:lnTo>
                  <a:pt x="10094357" y="5934534"/>
                </a:lnTo>
                <a:lnTo>
                  <a:pt x="10096075" y="5929624"/>
                </a:lnTo>
                <a:lnTo>
                  <a:pt x="10097548" y="5924469"/>
                </a:lnTo>
                <a:lnTo>
                  <a:pt x="10098775" y="5918822"/>
                </a:lnTo>
                <a:lnTo>
                  <a:pt x="10099511" y="5913176"/>
                </a:lnTo>
                <a:lnTo>
                  <a:pt x="10100002" y="5907284"/>
                </a:lnTo>
                <a:lnTo>
                  <a:pt x="10100125" y="5900901"/>
                </a:lnTo>
                <a:lnTo>
                  <a:pt x="10100125" y="5896728"/>
                </a:lnTo>
                <a:lnTo>
                  <a:pt x="10100002" y="5892677"/>
                </a:lnTo>
                <a:lnTo>
                  <a:pt x="10099634" y="5888627"/>
                </a:lnTo>
                <a:lnTo>
                  <a:pt x="10099266" y="5884699"/>
                </a:lnTo>
                <a:lnTo>
                  <a:pt x="10098775" y="5880771"/>
                </a:lnTo>
                <a:lnTo>
                  <a:pt x="10097916" y="5876966"/>
                </a:lnTo>
                <a:lnTo>
                  <a:pt x="10097179" y="5873406"/>
                </a:lnTo>
                <a:lnTo>
                  <a:pt x="10096320" y="5869846"/>
                </a:lnTo>
                <a:lnTo>
                  <a:pt x="10095339" y="5866287"/>
                </a:lnTo>
                <a:lnTo>
                  <a:pt x="10094111" y="5862973"/>
                </a:lnTo>
                <a:lnTo>
                  <a:pt x="10092884" y="5859658"/>
                </a:lnTo>
                <a:lnTo>
                  <a:pt x="10091411" y="5856590"/>
                </a:lnTo>
                <a:lnTo>
                  <a:pt x="10089816" y="5853521"/>
                </a:lnTo>
                <a:lnTo>
                  <a:pt x="10088220" y="5850452"/>
                </a:lnTo>
                <a:lnTo>
                  <a:pt x="10086379" y="5847752"/>
                </a:lnTo>
                <a:lnTo>
                  <a:pt x="10084416" y="5844929"/>
                </a:lnTo>
                <a:lnTo>
                  <a:pt x="10082329" y="5842228"/>
                </a:lnTo>
                <a:lnTo>
                  <a:pt x="10080120" y="5839773"/>
                </a:lnTo>
                <a:lnTo>
                  <a:pt x="10077666" y="5837441"/>
                </a:lnTo>
                <a:lnTo>
                  <a:pt x="10075211" y="5835232"/>
                </a:lnTo>
                <a:lnTo>
                  <a:pt x="10072511" y="5833022"/>
                </a:lnTo>
                <a:lnTo>
                  <a:pt x="10069811" y="5831058"/>
                </a:lnTo>
                <a:lnTo>
                  <a:pt x="10066865" y="5829094"/>
                </a:lnTo>
                <a:lnTo>
                  <a:pt x="10063674" y="5827376"/>
                </a:lnTo>
                <a:lnTo>
                  <a:pt x="10060483" y="5825657"/>
                </a:lnTo>
                <a:lnTo>
                  <a:pt x="10057047" y="5824307"/>
                </a:lnTo>
                <a:lnTo>
                  <a:pt x="10053488" y="5822957"/>
                </a:lnTo>
                <a:lnTo>
                  <a:pt x="10049806" y="5821730"/>
                </a:lnTo>
                <a:lnTo>
                  <a:pt x="10046001" y="5820625"/>
                </a:lnTo>
                <a:lnTo>
                  <a:pt x="10042074" y="5819643"/>
                </a:lnTo>
                <a:lnTo>
                  <a:pt x="10037901" y="5818906"/>
                </a:lnTo>
                <a:lnTo>
                  <a:pt x="10033728" y="5818293"/>
                </a:lnTo>
                <a:lnTo>
                  <a:pt x="10033728" y="5817311"/>
                </a:lnTo>
                <a:lnTo>
                  <a:pt x="10036183" y="5816083"/>
                </a:lnTo>
                <a:lnTo>
                  <a:pt x="10038392" y="5814733"/>
                </a:lnTo>
                <a:lnTo>
                  <a:pt x="10040724" y="5813383"/>
                </a:lnTo>
                <a:lnTo>
                  <a:pt x="10042810" y="5811910"/>
                </a:lnTo>
                <a:lnTo>
                  <a:pt x="10044897" y="5810437"/>
                </a:lnTo>
                <a:lnTo>
                  <a:pt x="10046860" y="5808718"/>
                </a:lnTo>
                <a:lnTo>
                  <a:pt x="10048701" y="5807123"/>
                </a:lnTo>
                <a:lnTo>
                  <a:pt x="10050542" y="5805527"/>
                </a:lnTo>
                <a:lnTo>
                  <a:pt x="10052138" y="5803686"/>
                </a:lnTo>
                <a:lnTo>
                  <a:pt x="10053733" y="5801967"/>
                </a:lnTo>
                <a:lnTo>
                  <a:pt x="10055329" y="5800003"/>
                </a:lnTo>
                <a:lnTo>
                  <a:pt x="10056679" y="5798162"/>
                </a:lnTo>
                <a:lnTo>
                  <a:pt x="10058152" y="5796321"/>
                </a:lnTo>
                <a:lnTo>
                  <a:pt x="10059379" y="5794234"/>
                </a:lnTo>
                <a:lnTo>
                  <a:pt x="10060483" y="5792270"/>
                </a:lnTo>
                <a:lnTo>
                  <a:pt x="10061711" y="5790061"/>
                </a:lnTo>
                <a:lnTo>
                  <a:pt x="10062692" y="5787974"/>
                </a:lnTo>
                <a:lnTo>
                  <a:pt x="10063674" y="5785765"/>
                </a:lnTo>
                <a:lnTo>
                  <a:pt x="10064533" y="5783555"/>
                </a:lnTo>
                <a:lnTo>
                  <a:pt x="10065393" y="5781223"/>
                </a:lnTo>
                <a:lnTo>
                  <a:pt x="10066129" y="5779014"/>
                </a:lnTo>
                <a:lnTo>
                  <a:pt x="10066743" y="5776559"/>
                </a:lnTo>
                <a:lnTo>
                  <a:pt x="10067356" y="5774104"/>
                </a:lnTo>
                <a:lnTo>
                  <a:pt x="10067847" y="5771649"/>
                </a:lnTo>
                <a:lnTo>
                  <a:pt x="10068215" y="5769071"/>
                </a:lnTo>
                <a:lnTo>
                  <a:pt x="10068584" y="5766616"/>
                </a:lnTo>
                <a:lnTo>
                  <a:pt x="10069074" y="5764038"/>
                </a:lnTo>
                <a:lnTo>
                  <a:pt x="10069320" y="5761338"/>
                </a:lnTo>
                <a:lnTo>
                  <a:pt x="10069688" y="5756060"/>
                </a:lnTo>
                <a:lnTo>
                  <a:pt x="10069811" y="5750659"/>
                </a:lnTo>
                <a:lnTo>
                  <a:pt x="10069688" y="5745013"/>
                </a:lnTo>
                <a:lnTo>
                  <a:pt x="10069320" y="5739366"/>
                </a:lnTo>
                <a:lnTo>
                  <a:pt x="10068706" y="5734211"/>
                </a:lnTo>
                <a:lnTo>
                  <a:pt x="10067970" y="5729178"/>
                </a:lnTo>
                <a:lnTo>
                  <a:pt x="10066988" y="5724391"/>
                </a:lnTo>
                <a:lnTo>
                  <a:pt x="10065761" y="5719849"/>
                </a:lnTo>
                <a:lnTo>
                  <a:pt x="10064288" y="5715431"/>
                </a:lnTo>
                <a:lnTo>
                  <a:pt x="10062815" y="5711257"/>
                </a:lnTo>
                <a:lnTo>
                  <a:pt x="10060852" y="5707329"/>
                </a:lnTo>
                <a:lnTo>
                  <a:pt x="10059011" y="5703524"/>
                </a:lnTo>
                <a:lnTo>
                  <a:pt x="10056679" y="5699964"/>
                </a:lnTo>
                <a:lnTo>
                  <a:pt x="10054470" y="5696528"/>
                </a:lnTo>
                <a:lnTo>
                  <a:pt x="10051770" y="5693336"/>
                </a:lnTo>
                <a:lnTo>
                  <a:pt x="10049070" y="5690513"/>
                </a:lnTo>
                <a:lnTo>
                  <a:pt x="10046124" y="5687690"/>
                </a:lnTo>
                <a:lnTo>
                  <a:pt x="10042933" y="5685112"/>
                </a:lnTo>
                <a:lnTo>
                  <a:pt x="10039865" y="5682657"/>
                </a:lnTo>
                <a:lnTo>
                  <a:pt x="10036428" y="5680325"/>
                </a:lnTo>
                <a:lnTo>
                  <a:pt x="10032746" y="5678361"/>
                </a:lnTo>
                <a:lnTo>
                  <a:pt x="10029065" y="5676520"/>
                </a:lnTo>
                <a:lnTo>
                  <a:pt x="10025137" y="5674801"/>
                </a:lnTo>
                <a:lnTo>
                  <a:pt x="10021087" y="5673206"/>
                </a:lnTo>
                <a:lnTo>
                  <a:pt x="10016792" y="5671733"/>
                </a:lnTo>
                <a:lnTo>
                  <a:pt x="10012373" y="5670628"/>
                </a:lnTo>
                <a:lnTo>
                  <a:pt x="10007955" y="5669523"/>
                </a:lnTo>
                <a:lnTo>
                  <a:pt x="10003291" y="5668664"/>
                </a:lnTo>
                <a:lnTo>
                  <a:pt x="9998505" y="5667927"/>
                </a:lnTo>
                <a:lnTo>
                  <a:pt x="9993596" y="5667191"/>
                </a:lnTo>
                <a:lnTo>
                  <a:pt x="9988687" y="5666700"/>
                </a:lnTo>
                <a:lnTo>
                  <a:pt x="9983409" y="5666332"/>
                </a:lnTo>
                <a:lnTo>
                  <a:pt x="9978255" y="5666209"/>
                </a:lnTo>
                <a:lnTo>
                  <a:pt x="9972854" y="5666086"/>
                </a:lnTo>
                <a:close/>
                <a:moveTo>
                  <a:pt x="9475976" y="5656523"/>
                </a:moveTo>
                <a:lnTo>
                  <a:pt x="9217099" y="5914675"/>
                </a:lnTo>
                <a:lnTo>
                  <a:pt x="9475976" y="6172949"/>
                </a:lnTo>
                <a:lnTo>
                  <a:pt x="9633212" y="6015973"/>
                </a:lnTo>
                <a:lnTo>
                  <a:pt x="9558635" y="5941533"/>
                </a:lnTo>
                <a:lnTo>
                  <a:pt x="9475976" y="6023700"/>
                </a:lnTo>
                <a:lnTo>
                  <a:pt x="9368335" y="5916637"/>
                </a:lnTo>
                <a:lnTo>
                  <a:pt x="9476098" y="5809207"/>
                </a:lnTo>
                <a:lnTo>
                  <a:pt x="9658439" y="5990955"/>
                </a:lnTo>
                <a:lnTo>
                  <a:pt x="9818002" y="5990955"/>
                </a:lnTo>
                <a:lnTo>
                  <a:pt x="9818002" y="5888553"/>
                </a:lnTo>
                <a:lnTo>
                  <a:pt x="9708524" y="5888553"/>
                </a:lnTo>
                <a:close/>
                <a:moveTo>
                  <a:pt x="10627708" y="5634208"/>
                </a:moveTo>
                <a:lnTo>
                  <a:pt x="10627708" y="5991243"/>
                </a:lnTo>
                <a:lnTo>
                  <a:pt x="10707403" y="5991243"/>
                </a:lnTo>
                <a:lnTo>
                  <a:pt x="10707403" y="5634208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524625"/>
                </a:lnTo>
                <a:lnTo>
                  <a:pt x="0" y="6524625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019175" y="1628775"/>
            <a:ext cx="10153650" cy="1307856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4400" b="0"/>
            </a:lvl1pPr>
          </a:lstStyle>
          <a:p>
            <a:r>
              <a:rPr lang="de-CH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019175" y="3213100"/>
            <a:ext cx="10153650" cy="360362"/>
          </a:xfrm>
        </p:spPr>
        <p:txBody>
          <a:bodyPr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dirty="0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1019174" y="3573462"/>
            <a:ext cx="4968876" cy="490537"/>
          </a:xfrm>
        </p:spPr>
        <p:txBody>
          <a:bodyPr bIns="0" anchor="t" anchorCtr="0"/>
          <a:lstStyle>
            <a:lvl1pPr algn="l">
              <a:lnSpc>
                <a:spcPct val="108000"/>
              </a:lnSpc>
              <a:defRPr sz="2000"/>
            </a:lvl1pPr>
          </a:lstStyle>
          <a:p>
            <a:fld id="{AA24D127-4365-4D0E-A115-81F95A18FDB0}" type="datetime1">
              <a:rPr lang="de-CH" smtClean="0"/>
              <a:pPr/>
              <a:t>29.10.2020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1201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24">
          <p15:clr>
            <a:srgbClr val="5ACBF0"/>
          </p15:clr>
        </p15:guide>
        <p15:guide id="2" orient="horz" pos="2251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/>
        <p:txBody>
          <a:bodyPr/>
          <a:lstStyle>
            <a:lvl1pPr marL="360000" indent="-360000">
              <a:spcBef>
                <a:spcPts val="850"/>
              </a:spcBef>
              <a:buSzPct val="100000"/>
              <a:buFont typeface="+mj-lt"/>
              <a:buAutoNum type="arabicPeriod"/>
              <a:defRPr/>
            </a:lvl1pPr>
            <a:lvl2pPr marL="612000">
              <a:defRPr/>
            </a:lvl2pPr>
            <a:lvl3pPr marL="864000">
              <a:defRPr/>
            </a:lvl3pPr>
            <a:lvl4pPr marL="1116000">
              <a:defRPr/>
            </a:lvl4pPr>
            <a:lvl5pPr marL="1368000">
              <a:defRPr/>
            </a:lvl5pPr>
          </a:lstStyle>
          <a:p>
            <a:pPr lvl="0"/>
            <a:r>
              <a:rPr lang="de-CH" dirty="0"/>
              <a:t>Formatvorlagen des Textmasters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9D7ED9E-6126-4397-8308-69EB4AB946B6}" type="datetime1">
              <a:rPr lang="de-CH" smtClean="0"/>
              <a:t>29.10.2020</a:t>
            </a:fld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CH" dirty="0"/>
              <a:t>Titel der Präsentation / Einheit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8218310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019175" y="1628774"/>
            <a:ext cx="10153650" cy="2144939"/>
          </a:xfrm>
        </p:spPr>
        <p:txBody>
          <a:bodyPr/>
          <a:lstStyle>
            <a:lvl1pPr>
              <a:lnSpc>
                <a:spcPct val="95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774198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CH" dirty="0"/>
              <a:t>Formatvorlagen des Textmasters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3D0B0-9713-461C-874B-4957D57F548D}" type="datetime1">
              <a:rPr lang="de-CH" smtClean="0"/>
              <a:t>29.10.2020</a:t>
            </a:fld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CH" dirty="0"/>
              <a:t>Titel der Präsentation / Einheit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1720784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Titelmasterformat durch Klicken bearbeite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1019175" y="1628775"/>
            <a:ext cx="4968875" cy="4392613"/>
          </a:xfrm>
        </p:spPr>
        <p:txBody>
          <a:bodyPr/>
          <a:lstStyle/>
          <a:p>
            <a:pPr lvl="0"/>
            <a:r>
              <a:rPr lang="de-CH" dirty="0"/>
              <a:t>Formatvorlagen des Textmasters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6203950" y="1628775"/>
            <a:ext cx="4968875" cy="4392613"/>
          </a:xfrm>
        </p:spPr>
        <p:txBody>
          <a:bodyPr/>
          <a:lstStyle/>
          <a:p>
            <a:pPr lvl="0"/>
            <a:r>
              <a:rPr lang="de-CH" dirty="0"/>
              <a:t>Formatvorlagen des Textmasters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2AB1519-6174-4942-BAE6-B9994255C374}" type="datetime1">
              <a:rPr lang="de-CH" smtClean="0"/>
              <a:t>29.10.2020</a:t>
            </a:fld>
            <a:endParaRPr lang="de-CH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CH" dirty="0"/>
              <a:t>Titel der Präsentation / Einheit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668049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203949" y="441324"/>
            <a:ext cx="4968875" cy="885199"/>
          </a:xfrm>
        </p:spPr>
        <p:txBody>
          <a:bodyPr/>
          <a:lstStyle/>
          <a:p>
            <a:r>
              <a:rPr lang="de-CH" dirty="0"/>
              <a:t>Titelmasterformat durch Klicken bearbeiten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6203950" y="1628775"/>
            <a:ext cx="4968875" cy="4392613"/>
          </a:xfrm>
        </p:spPr>
        <p:txBody>
          <a:bodyPr/>
          <a:lstStyle/>
          <a:p>
            <a:pPr lvl="0"/>
            <a:r>
              <a:rPr lang="de-CH" dirty="0"/>
              <a:t>Formatvorlagen des Textmasters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5988050" cy="65246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E8A4300-2AB5-4404-8748-C067851E5A78}" type="datetime1">
              <a:rPr lang="de-CH" smtClean="0"/>
              <a:t>29.10.2020</a:t>
            </a:fld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019340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Titelmasterformat durch Klicken bearbeite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1019175" y="1628775"/>
            <a:ext cx="4968875" cy="4392613"/>
          </a:xfrm>
        </p:spPr>
        <p:txBody>
          <a:bodyPr/>
          <a:lstStyle/>
          <a:p>
            <a:pPr lvl="0"/>
            <a:r>
              <a:rPr lang="de-CH" dirty="0"/>
              <a:t>Formatvorlagen des Textmasters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177754F-197C-4D39-883C-06A02FC4A6A1}" type="datetime1">
              <a:rPr lang="de-CH" smtClean="0"/>
              <a:t>29.10.2020</a:t>
            </a:fld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CH" dirty="0"/>
              <a:t>Titel der Präsentation / Einheit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887904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en Gegenüberstel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019175" y="1628774"/>
            <a:ext cx="4968875" cy="576263"/>
          </a:xfrm>
          <a:solidFill>
            <a:schemeClr val="bg2"/>
          </a:solidFill>
          <a:ln>
            <a:noFill/>
          </a:ln>
        </p:spPr>
        <p:txBody>
          <a:bodyPr lIns="252000" rIns="252000" anchor="ctr" anchorCtr="0"/>
          <a:lstStyle>
            <a:lvl1pPr marL="0" indent="0">
              <a:lnSpc>
                <a:spcPct val="108000"/>
              </a:lnSpc>
              <a:buNone/>
              <a:defRPr b="1"/>
            </a:lvl1pPr>
          </a:lstStyle>
          <a:p>
            <a:pPr lvl="0"/>
            <a:r>
              <a:rPr lang="de-CH" dirty="0"/>
              <a:t>Titel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1019175" y="2312988"/>
            <a:ext cx="4968875" cy="2879725"/>
          </a:xfrm>
          <a:solidFill>
            <a:schemeClr val="bg2"/>
          </a:solidFill>
        </p:spPr>
        <p:txBody>
          <a:bodyPr lIns="252000" tIns="252000" rIns="252000" bIns="252000"/>
          <a:lstStyle/>
          <a:p>
            <a:pPr lvl="0"/>
            <a:r>
              <a:rPr lang="de-CH" dirty="0"/>
              <a:t>Formatvorlagen des Textmasters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203949" y="1628775"/>
            <a:ext cx="4968875" cy="576263"/>
          </a:xfrm>
          <a:noFill/>
          <a:ln w="19050">
            <a:solidFill>
              <a:schemeClr val="accent1"/>
            </a:solidFill>
          </a:ln>
        </p:spPr>
        <p:txBody>
          <a:bodyPr lIns="252000" rIns="252000" anchor="ctr" anchorCtr="0"/>
          <a:lstStyle>
            <a:lvl1pPr marL="0" indent="0">
              <a:lnSpc>
                <a:spcPct val="108000"/>
              </a:lnSpc>
              <a:buNone/>
              <a:defRPr b="1"/>
            </a:lvl1pPr>
          </a:lstStyle>
          <a:p>
            <a:pPr lvl="0"/>
            <a:r>
              <a:rPr lang="de-CH" dirty="0"/>
              <a:t>Titel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6203949" y="2312988"/>
            <a:ext cx="4968874" cy="2879725"/>
          </a:xfrm>
          <a:noFill/>
          <a:ln w="19050">
            <a:solidFill>
              <a:schemeClr val="accent1"/>
            </a:solidFill>
          </a:ln>
        </p:spPr>
        <p:txBody>
          <a:bodyPr lIns="252000" tIns="252000" rIns="252000" bIns="252000"/>
          <a:lstStyle/>
          <a:p>
            <a:pPr lvl="0"/>
            <a:r>
              <a:rPr lang="de-CH" dirty="0"/>
              <a:t>Formatvorlagen des Textmasters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23E383C3-CE63-455B-9BC4-67D7B5F7953E}" type="datetime1">
              <a:rPr lang="de-CH" smtClean="0"/>
              <a:t>29.10.2020</a:t>
            </a:fld>
            <a:endParaRPr lang="de-CH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CH" dirty="0"/>
              <a:t>Titel der Präsentation / Einheit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17931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389" userDrawn="1">
          <p15:clr>
            <a:srgbClr val="5ACBF0"/>
          </p15:clr>
        </p15:guide>
        <p15:guide id="3" orient="horz" pos="1457" userDrawn="1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8696235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19" imgW="324" imgH="324" progId="TCLayout.ActiveDocument.1">
                  <p:embed/>
                </p:oleObj>
              </mc:Choice>
              <mc:Fallback>
                <p:oleObj name="think-cell Slide" r:id="rId19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019175" y="441324"/>
            <a:ext cx="10153650" cy="8851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CH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19175" y="1628776"/>
            <a:ext cx="10153650" cy="4392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dirty="0"/>
              <a:t>Formatvorlagen des Textmasters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932738" y="6200819"/>
            <a:ext cx="2917826" cy="216000"/>
          </a:xfrm>
          <a:prstGeom prst="rect">
            <a:avLst/>
          </a:prstGeom>
        </p:spPr>
        <p:txBody>
          <a:bodyPr vert="horz" lIns="0" tIns="0" rIns="0" bIns="10800" rtlCol="0" anchor="b" anchorCtr="0"/>
          <a:lstStyle>
            <a:lvl1pPr marL="0" indent="0" algn="r">
              <a:lnSpc>
                <a:spcPts val="1600"/>
              </a:lnSpc>
              <a:buNone/>
              <a:defRPr sz="1200">
                <a:solidFill>
                  <a:schemeClr val="accent1"/>
                </a:solidFill>
              </a:defRPr>
            </a:lvl1pPr>
          </a:lstStyle>
          <a:p>
            <a:fld id="{B6F52CEC-45E9-4B22-B3B3-577A9787CB65}" type="datetime1">
              <a:rPr lang="de-CH" smtClean="0"/>
              <a:t>29.10.2020</a:t>
            </a:fld>
            <a:endParaRPr lang="de-CH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019175" y="6200819"/>
            <a:ext cx="6697663" cy="216000"/>
          </a:xfrm>
          <a:prstGeom prst="rect">
            <a:avLst/>
          </a:prstGeom>
        </p:spPr>
        <p:txBody>
          <a:bodyPr vert="horz" lIns="0" tIns="0" rIns="0" bIns="10800" rtlCol="0" anchor="b" anchorCtr="0"/>
          <a:lstStyle>
            <a:lvl1pPr algn="l">
              <a:lnSpc>
                <a:spcPts val="1600"/>
              </a:lnSpc>
              <a:defRPr sz="1200">
                <a:solidFill>
                  <a:schemeClr val="accent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CH" dirty="0"/>
              <a:t>Titel der Präsentation / Einhei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50564" y="6200819"/>
            <a:ext cx="322261" cy="216000"/>
          </a:xfrm>
          <a:prstGeom prst="rect">
            <a:avLst/>
          </a:prstGeom>
        </p:spPr>
        <p:txBody>
          <a:bodyPr vert="horz" lIns="0" tIns="0" rIns="0" bIns="10800" rtlCol="0" anchor="b" anchorCtr="0"/>
          <a:lstStyle>
            <a:lvl1pPr marL="0" indent="0" algn="r">
              <a:lnSpc>
                <a:spcPts val="1600"/>
              </a:lnSpc>
              <a:buNone/>
              <a:defRPr sz="1200">
                <a:solidFill>
                  <a:schemeClr val="accent1"/>
                </a:solidFill>
              </a:defRPr>
            </a:lvl1pPr>
          </a:lstStyle>
          <a:p>
            <a:fld id="{E5CD4E9B-BCA1-49D6-A6CF-2D362896A9F8}" type="slidenum">
              <a:rPr lang="de-CH" smtClean="0"/>
              <a:pPr/>
              <a:t>‹Nr.›</a:t>
            </a:fld>
            <a:endParaRPr lang="de-CH" dirty="0"/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-1587" y="6524625"/>
            <a:ext cx="12193587" cy="333375"/>
            <a:chOff x="-15875" y="3268663"/>
            <a:chExt cx="12193587" cy="322262"/>
          </a:xfrm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8221662" y="3268663"/>
              <a:ext cx="3956050" cy="322262"/>
            </a:xfrm>
            <a:custGeom>
              <a:avLst/>
              <a:gdLst>
                <a:gd name="T0" fmla="*/ 612 w 7477"/>
                <a:gd name="T1" fmla="*/ 0 h 607"/>
                <a:gd name="T2" fmla="*/ 0 w 7477"/>
                <a:gd name="T3" fmla="*/ 607 h 607"/>
                <a:gd name="T4" fmla="*/ 7477 w 7477"/>
                <a:gd name="T5" fmla="*/ 607 h 607"/>
                <a:gd name="T6" fmla="*/ 7477 w 7477"/>
                <a:gd name="T7" fmla="*/ 0 h 607"/>
                <a:gd name="T8" fmla="*/ 612 w 7477"/>
                <a:gd name="T9" fmla="*/ 0 h 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77" h="607">
                  <a:moveTo>
                    <a:pt x="612" y="0"/>
                  </a:moveTo>
                  <a:lnTo>
                    <a:pt x="0" y="607"/>
                  </a:lnTo>
                  <a:lnTo>
                    <a:pt x="7477" y="607"/>
                  </a:lnTo>
                  <a:lnTo>
                    <a:pt x="7477" y="0"/>
                  </a:lnTo>
                  <a:lnTo>
                    <a:pt x="612" y="0"/>
                  </a:lnTo>
                  <a:close/>
                </a:path>
              </a:pathLst>
            </a:custGeom>
            <a:solidFill>
              <a:srgbClr val="00A5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dirty="0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-15875" y="3268663"/>
              <a:ext cx="8394700" cy="322262"/>
            </a:xfrm>
            <a:custGeom>
              <a:avLst/>
              <a:gdLst>
                <a:gd name="T0" fmla="*/ 0 w 15866"/>
                <a:gd name="T1" fmla="*/ 0 h 607"/>
                <a:gd name="T2" fmla="*/ 0 w 15866"/>
                <a:gd name="T3" fmla="*/ 607 h 607"/>
                <a:gd name="T4" fmla="*/ 15253 w 15866"/>
                <a:gd name="T5" fmla="*/ 607 h 607"/>
                <a:gd name="T6" fmla="*/ 15866 w 15866"/>
                <a:gd name="T7" fmla="*/ 0 h 607"/>
                <a:gd name="T8" fmla="*/ 0 w 15866"/>
                <a:gd name="T9" fmla="*/ 0 h 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66" h="607">
                  <a:moveTo>
                    <a:pt x="0" y="0"/>
                  </a:moveTo>
                  <a:lnTo>
                    <a:pt x="0" y="607"/>
                  </a:lnTo>
                  <a:lnTo>
                    <a:pt x="15253" y="607"/>
                  </a:lnTo>
                  <a:lnTo>
                    <a:pt x="1586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dirty="0"/>
            </a:p>
          </p:txBody>
        </p:sp>
      </p:grpSp>
    </p:spTree>
    <p:extLst>
      <p:ext uri="{BB962C8B-B14F-4D97-AF65-F5344CB8AC3E}">
        <p14:creationId xmlns:p14="http://schemas.microsoft.com/office/powerpoint/2010/main" val="3418595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57" r:id="rId3"/>
    <p:sldLayoutId id="2147483661" r:id="rId4"/>
    <p:sldLayoutId id="2147483650" r:id="rId5"/>
    <p:sldLayoutId id="2147483658" r:id="rId6"/>
    <p:sldLayoutId id="2147483659" r:id="rId7"/>
    <p:sldLayoutId id="2147483660" r:id="rId8"/>
    <p:sldLayoutId id="2147483662" r:id="rId9"/>
    <p:sldLayoutId id="2147483663" r:id="rId10"/>
    <p:sldLayoutId id="2147483664" r:id="rId11"/>
    <p:sldLayoutId id="2147483667" r:id="rId12"/>
    <p:sldLayoutId id="2147483654" r:id="rId13"/>
    <p:sldLayoutId id="2147483655" r:id="rId14"/>
    <p:sldLayoutId id="2147483665" r:id="rId15"/>
  </p:sldLayoutIdLst>
  <p:hf hdr="0"/>
  <p:txStyles>
    <p:titleStyle>
      <a:lvl1pPr algn="l" defTabSz="914400" rtl="0" eaLnBrk="1" latinLnBrk="0" hangingPunct="1">
        <a:lnSpc>
          <a:spcPct val="108000"/>
        </a:lnSpc>
        <a:spcBef>
          <a:spcPct val="0"/>
        </a:spcBef>
        <a:buNone/>
        <a:defRPr sz="2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8000"/>
        </a:lnSpc>
        <a:spcBef>
          <a:spcPts val="0"/>
        </a:spcBef>
        <a:buClr>
          <a:schemeClr val="accent2"/>
        </a:buClr>
        <a:buSzPct val="125000"/>
        <a:buFont typeface="Arial" panose="020B0604020202020204" pitchFamily="34" charset="0"/>
        <a:buChar char="›"/>
        <a:defRPr sz="2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108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–"/>
        <a:defRPr sz="1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108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–"/>
        <a:defRPr sz="16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lnSpc>
          <a:spcPct val="108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–"/>
        <a:defRPr sz="16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lnSpc>
          <a:spcPct val="108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–"/>
        <a:defRPr sz="16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512000" indent="-252000" algn="l" defTabSz="914400" rtl="0" eaLnBrk="1" latinLnBrk="0" hangingPunct="1">
        <a:lnSpc>
          <a:spcPts val="2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–"/>
        <a:defRPr sz="16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1764000" indent="-252000" algn="l" defTabSz="914400" rtl="0" eaLnBrk="1" latinLnBrk="0" hangingPunct="1">
        <a:lnSpc>
          <a:spcPts val="2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–"/>
        <a:defRPr sz="16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2016000" indent="-252000" algn="l" defTabSz="914400" rtl="0" eaLnBrk="1" latinLnBrk="0" hangingPunct="1">
        <a:lnSpc>
          <a:spcPts val="2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–"/>
        <a:defRPr sz="16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2268000" indent="-252000" algn="l" defTabSz="914400" rtl="0" eaLnBrk="1" latinLnBrk="0" hangingPunct="1">
        <a:lnSpc>
          <a:spcPts val="2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–"/>
        <a:defRPr sz="16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252000" indent="-252000" algn="l" defTabSz="914400" rtl="0" eaLnBrk="1" latinLnBrk="0" hangingPunct="1">
        <a:lnSpc>
          <a:spcPct val="108000"/>
        </a:lnSpc>
        <a:spcBef>
          <a:spcPts val="0"/>
        </a:spcBef>
        <a:buClr>
          <a:schemeClr val="accent2"/>
        </a:buClr>
        <a:buSzPct val="125000"/>
        <a:buFont typeface="Arial" panose="020B0604020202020204" pitchFamily="34" charset="0"/>
        <a:buChar char="›"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108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–"/>
        <a:defRPr sz="1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108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–"/>
        <a:defRPr sz="16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lnSpc>
          <a:spcPct val="108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–"/>
        <a:defRPr sz="16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lnSpc>
          <a:spcPct val="108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–"/>
        <a:defRPr sz="16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512000" indent="-252000" algn="l" defTabSz="914400" rtl="0" eaLnBrk="1" latinLnBrk="0" hangingPunct="1">
        <a:lnSpc>
          <a:spcPct val="108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–"/>
        <a:defRPr sz="16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1764000" indent="-252000" algn="l" defTabSz="914400" rtl="0" eaLnBrk="1" latinLnBrk="0" hangingPunct="1">
        <a:lnSpc>
          <a:spcPct val="108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–"/>
        <a:defRPr sz="16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2016000" indent="-252000" algn="l" defTabSz="914400" rtl="0" eaLnBrk="1" latinLnBrk="0" hangingPunct="1">
        <a:lnSpc>
          <a:spcPct val="108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–"/>
        <a:defRPr sz="16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2268000" indent="-252000" algn="l" defTabSz="914400" rtl="0" eaLnBrk="1" latinLnBrk="0" hangingPunct="1">
        <a:lnSpc>
          <a:spcPct val="108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–"/>
        <a:defRPr sz="1600" kern="1200">
          <a:solidFill>
            <a:schemeClr val="accent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772" userDrawn="1">
          <p15:clr>
            <a:srgbClr val="F26B43"/>
          </p15:clr>
        </p15:guide>
        <p15:guide id="3" pos="3908" userDrawn="1">
          <p15:clr>
            <a:srgbClr val="F26B43"/>
          </p15:clr>
        </p15:guide>
        <p15:guide id="4" pos="2819" userDrawn="1">
          <p15:clr>
            <a:srgbClr val="F26B43"/>
          </p15:clr>
        </p15:guide>
        <p15:guide id="5" pos="2683" userDrawn="1">
          <p15:clr>
            <a:srgbClr val="F26B43"/>
          </p15:clr>
        </p15:guide>
        <p15:guide id="6" pos="1731" userDrawn="1">
          <p15:clr>
            <a:srgbClr val="F26B43"/>
          </p15:clr>
        </p15:guide>
        <p15:guide id="7" pos="1595" userDrawn="1">
          <p15:clr>
            <a:srgbClr val="F26B43"/>
          </p15:clr>
        </p15:guide>
        <p15:guide id="8" pos="642" userDrawn="1">
          <p15:clr>
            <a:srgbClr val="F26B43"/>
          </p15:clr>
        </p15:guide>
        <p15:guide id="9" pos="7038" userDrawn="1">
          <p15:clr>
            <a:srgbClr val="F26B43"/>
          </p15:clr>
        </p15:guide>
        <p15:guide id="10" pos="4861" userDrawn="1">
          <p15:clr>
            <a:srgbClr val="F26B43"/>
          </p15:clr>
        </p15:guide>
        <p15:guide id="11" pos="4997" userDrawn="1">
          <p15:clr>
            <a:srgbClr val="F26B43"/>
          </p15:clr>
        </p15:guide>
        <p15:guide id="12" pos="5949" userDrawn="1">
          <p15:clr>
            <a:srgbClr val="F26B43"/>
          </p15:clr>
        </p15:guide>
        <p15:guide id="13" pos="6085" userDrawn="1">
          <p15:clr>
            <a:srgbClr val="F26B43"/>
          </p15:clr>
        </p15:guide>
        <p15:guide id="14" orient="horz" pos="278" userDrawn="1">
          <p15:clr>
            <a:srgbClr val="F26B43"/>
          </p15:clr>
        </p15:guide>
        <p15:guide id="15" orient="horz" pos="1026" userDrawn="1">
          <p15:clr>
            <a:srgbClr val="F26B43"/>
          </p15:clr>
        </p15:guide>
        <p15:guide id="16" orient="horz" pos="4110" userDrawn="1">
          <p15:clr>
            <a:srgbClr val="F26B43"/>
          </p15:clr>
        </p15:guide>
        <p15:guide id="17" orient="horz" pos="3793" userDrawn="1">
          <p15:clr>
            <a:srgbClr val="F26B43"/>
          </p15:clr>
        </p15:guide>
        <p15:guide id="18" orient="horz" pos="4042" userDrawn="1">
          <p15:clr>
            <a:srgbClr val="F26B43"/>
          </p15:clr>
        </p15:guide>
        <p15:guide id="20" pos="5405" userDrawn="1">
          <p15:clr>
            <a:srgbClr val="FBAE40"/>
          </p15:clr>
        </p15:guide>
        <p15:guide id="21" pos="5541" userDrawn="1">
          <p15:clr>
            <a:srgbClr val="FBAE40"/>
          </p15:clr>
        </p15:guide>
        <p15:guide id="23" pos="2139" userDrawn="1">
          <p15:clr>
            <a:srgbClr val="FBAE40"/>
          </p15:clr>
        </p15:guide>
        <p15:guide id="24" pos="2275" userDrawn="1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cat-vaadin.apps.baloise.dev/" TargetMode="Externa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cat-server.apps.baloise.dev/swagger-ui/index.html" TargetMode="Externa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jp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54BB45-DCCC-48E4-803C-01C6C2473DC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CH" dirty="0"/>
              <a:t>Codes and Texts @ </a:t>
            </a:r>
            <a:r>
              <a:rPr lang="de-CH" dirty="0" err="1"/>
              <a:t>Codecamp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8D11514-B898-472D-98CC-363E7181FCC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 dirty="0"/>
              <a:t>41. Open X-Day 30.10,2020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C4ABD9-0C35-4423-A67F-D74BABD88D2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19174" y="3573462"/>
            <a:ext cx="9256396" cy="490537"/>
          </a:xfrm>
        </p:spPr>
        <p:txBody>
          <a:bodyPr/>
          <a:lstStyle/>
          <a:p>
            <a:r>
              <a:rPr lang="de-CH" dirty="0"/>
              <a:t>Thomas Müller, Michael Mühlebach, Christoph Lipp</a:t>
            </a:r>
          </a:p>
        </p:txBody>
      </p:sp>
    </p:spTree>
    <p:extLst>
      <p:ext uri="{BB962C8B-B14F-4D97-AF65-F5344CB8AC3E}">
        <p14:creationId xmlns:p14="http://schemas.microsoft.com/office/powerpoint/2010/main" val="36775902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113F8F-C16E-4559-898F-BDE7D1ACE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175" y="441324"/>
            <a:ext cx="10153650" cy="885199"/>
          </a:xfrm>
        </p:spPr>
        <p:txBody>
          <a:bodyPr/>
          <a:lstStyle/>
          <a:p>
            <a:r>
              <a:rPr lang="de-CH" dirty="0"/>
              <a:t>Appendix B: </a:t>
            </a:r>
            <a:r>
              <a:rPr lang="de-CH" dirty="0" err="1"/>
              <a:t>CaT</a:t>
            </a:r>
            <a:r>
              <a:rPr lang="de-CH" dirty="0"/>
              <a:t> prototype </a:t>
            </a:r>
            <a:r>
              <a:rPr lang="de-CH" dirty="0" err="1"/>
              <a:t>views</a:t>
            </a:r>
            <a:endParaRPr lang="de-CH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AAD6964-A55E-4276-BCC0-1E5E0FBF306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2AB1519-6174-4942-BAE6-B9994255C374}" type="datetime1">
              <a:rPr lang="de-CH" smtClean="0"/>
              <a:t>29.10.2020</a:t>
            </a:fld>
            <a:endParaRPr lang="de-CH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AFF9A42-CFB3-459F-A330-AA45008F13A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CH" dirty="0" err="1"/>
              <a:t>codes</a:t>
            </a:r>
            <a:r>
              <a:rPr lang="de-CH" dirty="0"/>
              <a:t>-and-texts @ </a:t>
            </a:r>
            <a:r>
              <a:rPr lang="de-CH" dirty="0" err="1"/>
              <a:t>codecamp</a:t>
            </a:r>
            <a:endParaRPr lang="de-CH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71EBC16-A301-4EE0-966A-01ECA09117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10</a:t>
            </a:fld>
            <a:endParaRPr lang="de-CH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1758AA1-A648-4600-820B-89CE4942182E}"/>
              </a:ext>
            </a:extLst>
          </p:cNvPr>
          <p:cNvSpPr/>
          <p:nvPr/>
        </p:nvSpPr>
        <p:spPr>
          <a:xfrm>
            <a:off x="1337309" y="4140782"/>
            <a:ext cx="1506558" cy="676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e-CH" dirty="0" err="1"/>
              <a:t>labeltext</a:t>
            </a:r>
            <a:endParaRPr lang="de-CH" dirty="0"/>
          </a:p>
        </p:txBody>
      </p:sp>
      <p:cxnSp>
        <p:nvCxnSpPr>
          <p:cNvPr id="15" name="Verbinder: gewinkelt 14">
            <a:extLst>
              <a:ext uri="{FF2B5EF4-FFF2-40B4-BE49-F238E27FC236}">
                <a16:creationId xmlns:a16="http://schemas.microsoft.com/office/drawing/2014/main" id="{83ACA99A-3124-4B51-99DF-6EE9737842EA}"/>
              </a:ext>
            </a:extLst>
          </p:cNvPr>
          <p:cNvCxnSpPr>
            <a:cxnSpLocks/>
            <a:stCxn id="10" idx="0"/>
            <a:endCxn id="22" idx="2"/>
          </p:cNvCxnSpPr>
          <p:nvPr/>
        </p:nvCxnSpPr>
        <p:spPr>
          <a:xfrm rot="16200000" flipV="1">
            <a:off x="1851819" y="3902012"/>
            <a:ext cx="473858" cy="3681"/>
          </a:xfrm>
          <a:prstGeom prst="bentConnector3">
            <a:avLst>
              <a:gd name="adj1" fmla="val 50000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F0C44A30-0F9A-46FF-B0D5-439C820F3FAD}"/>
              </a:ext>
            </a:extLst>
          </p:cNvPr>
          <p:cNvSpPr/>
          <p:nvPr/>
        </p:nvSpPr>
        <p:spPr>
          <a:xfrm>
            <a:off x="3522523" y="4139508"/>
            <a:ext cx="1740490" cy="676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e-CH" dirty="0" err="1"/>
              <a:t>text</a:t>
            </a:r>
            <a:endParaRPr lang="de-CH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0919037-03C5-41C8-9B43-A29A84B279B7}"/>
              </a:ext>
            </a:extLst>
          </p:cNvPr>
          <p:cNvSpPr/>
          <p:nvPr/>
        </p:nvSpPr>
        <p:spPr>
          <a:xfrm>
            <a:off x="5755854" y="4139690"/>
            <a:ext cx="1418032" cy="676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e-CH" dirty="0" err="1"/>
              <a:t>codetext</a:t>
            </a:r>
            <a:endParaRPr lang="de-CH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D4E5654-D99D-4F13-8CBB-BC948EBB7BC0}"/>
              </a:ext>
            </a:extLst>
          </p:cNvPr>
          <p:cNvSpPr/>
          <p:nvPr/>
        </p:nvSpPr>
        <p:spPr>
          <a:xfrm>
            <a:off x="7852542" y="4133340"/>
            <a:ext cx="1518848" cy="67688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e-CH" dirty="0"/>
              <a:t>(codestyle)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BB503723-7AE7-434D-B742-7B1793956292}"/>
              </a:ext>
            </a:extLst>
          </p:cNvPr>
          <p:cNvSpPr/>
          <p:nvPr/>
        </p:nvSpPr>
        <p:spPr>
          <a:xfrm>
            <a:off x="1353204" y="2990040"/>
            <a:ext cx="1467406" cy="676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e-CH" dirty="0" err="1"/>
              <a:t>application</a:t>
            </a:r>
            <a:endParaRPr lang="de-CH" dirty="0"/>
          </a:p>
        </p:txBody>
      </p:sp>
      <p:cxnSp>
        <p:nvCxnSpPr>
          <p:cNvPr id="23" name="Verbinder: gewinkelt 22">
            <a:extLst>
              <a:ext uri="{FF2B5EF4-FFF2-40B4-BE49-F238E27FC236}">
                <a16:creationId xmlns:a16="http://schemas.microsoft.com/office/drawing/2014/main" id="{B3B1EF3C-A412-4A65-A8A4-3059478B7EF9}"/>
              </a:ext>
            </a:extLst>
          </p:cNvPr>
          <p:cNvCxnSpPr>
            <a:cxnSpLocks/>
            <a:stCxn id="27" idx="3"/>
            <a:endCxn id="28" idx="1"/>
          </p:cNvCxnSpPr>
          <p:nvPr/>
        </p:nvCxnSpPr>
        <p:spPr>
          <a:xfrm>
            <a:off x="9360914" y="3322492"/>
            <a:ext cx="754186" cy="2350"/>
          </a:xfrm>
          <a:prstGeom prst="bentConnector3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E045374A-77E5-4A58-BAB0-4DE4000816E6}"/>
              </a:ext>
            </a:extLst>
          </p:cNvPr>
          <p:cNvSpPr/>
          <p:nvPr/>
        </p:nvSpPr>
        <p:spPr>
          <a:xfrm>
            <a:off x="3481862" y="2990040"/>
            <a:ext cx="1818645" cy="67688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e-CH" dirty="0"/>
              <a:t>(</a:t>
            </a:r>
            <a:r>
              <a:rPr lang="de-CH" dirty="0" err="1"/>
              <a:t>messagetext</a:t>
            </a:r>
            <a:r>
              <a:rPr lang="de-CH" dirty="0"/>
              <a:t>)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6C6EB1B-C523-4DE7-B9B8-493285FA5702}"/>
              </a:ext>
            </a:extLst>
          </p:cNvPr>
          <p:cNvSpPr/>
          <p:nvPr/>
        </p:nvSpPr>
        <p:spPr>
          <a:xfrm>
            <a:off x="5739533" y="2985628"/>
            <a:ext cx="1459470" cy="676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e-CH" dirty="0" err="1"/>
              <a:t>codevalue</a:t>
            </a:r>
            <a:endParaRPr lang="de-CH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79E6E0A7-2D0E-4337-8567-396D500B01D8}"/>
              </a:ext>
            </a:extLst>
          </p:cNvPr>
          <p:cNvSpPr/>
          <p:nvPr/>
        </p:nvSpPr>
        <p:spPr>
          <a:xfrm>
            <a:off x="7852542" y="2984050"/>
            <a:ext cx="1508372" cy="676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e-CH" dirty="0" err="1"/>
              <a:t>codetype</a:t>
            </a:r>
            <a:endParaRPr lang="de-CH" dirty="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6F457D8-1ED0-4F5C-B682-5384A46F2985}"/>
              </a:ext>
            </a:extLst>
          </p:cNvPr>
          <p:cNvSpPr/>
          <p:nvPr/>
        </p:nvSpPr>
        <p:spPr>
          <a:xfrm>
            <a:off x="10115100" y="2986400"/>
            <a:ext cx="1577791" cy="676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e-CH" dirty="0" err="1"/>
              <a:t>domain</a:t>
            </a:r>
            <a:endParaRPr lang="de-CH" dirty="0"/>
          </a:p>
        </p:txBody>
      </p:sp>
      <p:cxnSp>
        <p:nvCxnSpPr>
          <p:cNvPr id="45" name="Verbinder: gewinkelt 44">
            <a:extLst>
              <a:ext uri="{FF2B5EF4-FFF2-40B4-BE49-F238E27FC236}">
                <a16:creationId xmlns:a16="http://schemas.microsoft.com/office/drawing/2014/main" id="{90EC1EDE-DF14-4F70-81F8-E9B432A6E051}"/>
              </a:ext>
            </a:extLst>
          </p:cNvPr>
          <p:cNvCxnSpPr>
            <a:cxnSpLocks/>
            <a:stCxn id="18" idx="0"/>
            <a:endCxn id="27" idx="2"/>
          </p:cNvCxnSpPr>
          <p:nvPr/>
        </p:nvCxnSpPr>
        <p:spPr>
          <a:xfrm rot="16200000" flipV="1">
            <a:off x="8373144" y="3894518"/>
            <a:ext cx="472406" cy="5238"/>
          </a:xfrm>
          <a:prstGeom prst="bentConnector3">
            <a:avLst>
              <a:gd name="adj1" fmla="val 50000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Verbinder: gewinkelt 47">
            <a:extLst>
              <a:ext uri="{FF2B5EF4-FFF2-40B4-BE49-F238E27FC236}">
                <a16:creationId xmlns:a16="http://schemas.microsoft.com/office/drawing/2014/main" id="{E5CFA62B-546E-42F1-B939-6864FA24E2CA}"/>
              </a:ext>
            </a:extLst>
          </p:cNvPr>
          <p:cNvCxnSpPr>
            <a:cxnSpLocks/>
            <a:stCxn id="26" idx="3"/>
            <a:endCxn id="27" idx="1"/>
          </p:cNvCxnSpPr>
          <p:nvPr/>
        </p:nvCxnSpPr>
        <p:spPr>
          <a:xfrm flipV="1">
            <a:off x="7199003" y="3322492"/>
            <a:ext cx="653539" cy="1578"/>
          </a:xfrm>
          <a:prstGeom prst="bentConnector3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Verbinder: gewinkelt 50">
            <a:extLst>
              <a:ext uri="{FF2B5EF4-FFF2-40B4-BE49-F238E27FC236}">
                <a16:creationId xmlns:a16="http://schemas.microsoft.com/office/drawing/2014/main" id="{C25C1E3A-E638-4FB8-8F9C-7702943E5503}"/>
              </a:ext>
            </a:extLst>
          </p:cNvPr>
          <p:cNvCxnSpPr>
            <a:cxnSpLocks/>
            <a:stCxn id="17" idx="3"/>
            <a:endCxn id="18" idx="1"/>
          </p:cNvCxnSpPr>
          <p:nvPr/>
        </p:nvCxnSpPr>
        <p:spPr>
          <a:xfrm flipV="1">
            <a:off x="7173886" y="4471782"/>
            <a:ext cx="678656" cy="6350"/>
          </a:xfrm>
          <a:prstGeom prst="bentConnector3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Verbinder: gewinkelt 56">
            <a:extLst>
              <a:ext uri="{FF2B5EF4-FFF2-40B4-BE49-F238E27FC236}">
                <a16:creationId xmlns:a16="http://schemas.microsoft.com/office/drawing/2014/main" id="{3A67522D-BC72-418C-AAF0-D7EF42F71333}"/>
              </a:ext>
            </a:extLst>
          </p:cNvPr>
          <p:cNvCxnSpPr>
            <a:cxnSpLocks/>
            <a:stCxn id="25" idx="1"/>
            <a:endCxn id="22" idx="3"/>
          </p:cNvCxnSpPr>
          <p:nvPr/>
        </p:nvCxnSpPr>
        <p:spPr>
          <a:xfrm rot="10800000">
            <a:off x="2820610" y="3328482"/>
            <a:ext cx="661252" cy="12700"/>
          </a:xfrm>
          <a:prstGeom prst="bentConnector3">
            <a:avLst>
              <a:gd name="adj1" fmla="val 50000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Verbinder: gewinkelt 59">
            <a:extLst>
              <a:ext uri="{FF2B5EF4-FFF2-40B4-BE49-F238E27FC236}">
                <a16:creationId xmlns:a16="http://schemas.microsoft.com/office/drawing/2014/main" id="{1E3197B9-B4D3-4BE1-BE7F-D64E93170FE4}"/>
              </a:ext>
            </a:extLst>
          </p:cNvPr>
          <p:cNvCxnSpPr>
            <a:cxnSpLocks/>
            <a:stCxn id="17" idx="1"/>
            <a:endCxn id="16" idx="3"/>
          </p:cNvCxnSpPr>
          <p:nvPr/>
        </p:nvCxnSpPr>
        <p:spPr>
          <a:xfrm rot="10800000">
            <a:off x="5263014" y="4477950"/>
            <a:ext cx="492841" cy="182"/>
          </a:xfrm>
          <a:prstGeom prst="bentConnector3">
            <a:avLst>
              <a:gd name="adj1" fmla="val 50000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Verbinder: gewinkelt 62">
            <a:extLst>
              <a:ext uri="{FF2B5EF4-FFF2-40B4-BE49-F238E27FC236}">
                <a16:creationId xmlns:a16="http://schemas.microsoft.com/office/drawing/2014/main" id="{D03D2F56-B33B-4333-A6CD-F6C314D84C9F}"/>
              </a:ext>
            </a:extLst>
          </p:cNvPr>
          <p:cNvCxnSpPr>
            <a:cxnSpLocks/>
            <a:stCxn id="10" idx="3"/>
            <a:endCxn id="16" idx="1"/>
          </p:cNvCxnSpPr>
          <p:nvPr/>
        </p:nvCxnSpPr>
        <p:spPr>
          <a:xfrm flipV="1">
            <a:off x="2843867" y="4477950"/>
            <a:ext cx="678656" cy="1274"/>
          </a:xfrm>
          <a:prstGeom prst="bentConnector3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Verbinder: gewinkelt 74">
            <a:extLst>
              <a:ext uri="{FF2B5EF4-FFF2-40B4-BE49-F238E27FC236}">
                <a16:creationId xmlns:a16="http://schemas.microsoft.com/office/drawing/2014/main" id="{DF3D5358-7B5C-44DA-9EAD-4A9908CA8DF8}"/>
              </a:ext>
            </a:extLst>
          </p:cNvPr>
          <p:cNvCxnSpPr>
            <a:cxnSpLocks/>
            <a:stCxn id="25" idx="2"/>
            <a:endCxn id="16" idx="0"/>
          </p:cNvCxnSpPr>
          <p:nvPr/>
        </p:nvCxnSpPr>
        <p:spPr>
          <a:xfrm rot="16200000" flipH="1">
            <a:off x="4155684" y="3902424"/>
            <a:ext cx="472584" cy="1583"/>
          </a:xfrm>
          <a:prstGeom prst="bentConnector3">
            <a:avLst>
              <a:gd name="adj1" fmla="val 50000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Verbinder: gewinkelt 46">
            <a:extLst>
              <a:ext uri="{FF2B5EF4-FFF2-40B4-BE49-F238E27FC236}">
                <a16:creationId xmlns:a16="http://schemas.microsoft.com/office/drawing/2014/main" id="{39CA0434-CF7D-4D49-9504-2E01E92FA38C}"/>
              </a:ext>
            </a:extLst>
          </p:cNvPr>
          <p:cNvCxnSpPr>
            <a:cxnSpLocks/>
            <a:stCxn id="17" idx="0"/>
            <a:endCxn id="26" idx="2"/>
          </p:cNvCxnSpPr>
          <p:nvPr/>
        </p:nvCxnSpPr>
        <p:spPr>
          <a:xfrm rot="5400000" flipH="1" flipV="1">
            <a:off x="6228480" y="3898902"/>
            <a:ext cx="477178" cy="4398"/>
          </a:xfrm>
          <a:prstGeom prst="bentConnector3">
            <a:avLst>
              <a:gd name="adj1" fmla="val 50000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36408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113F8F-C16E-4559-898F-BDE7D1ACE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Background: Code- und Text-Verwaltung @ Baloise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DDED6D7E-1E80-4441-9F35-9335B0504FE2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019175" y="1628775"/>
            <a:ext cx="4968875" cy="4023843"/>
          </a:xfrm>
          <a:prstGeom prst="rect">
            <a:avLst/>
          </a:prstGeom>
        </p:spPr>
      </p:pic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5CB866E-9141-4A9B-9D02-647FB16ED5AD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CH" dirty="0"/>
              <a:t>Delphi-Client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data</a:t>
            </a:r>
            <a:r>
              <a:rPr lang="de-CH" dirty="0"/>
              <a:t> on DB2 Host</a:t>
            </a:r>
          </a:p>
          <a:p>
            <a:pPr lvl="1"/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installation</a:t>
            </a:r>
            <a:endParaRPr lang="de-CH" dirty="0"/>
          </a:p>
          <a:p>
            <a:pPr lvl="1"/>
            <a:r>
              <a:rPr lang="de-CH" dirty="0"/>
              <a:t>ODBC </a:t>
            </a:r>
            <a:r>
              <a:rPr lang="de-CH" dirty="0" err="1"/>
              <a:t>driver</a:t>
            </a:r>
            <a:r>
              <a:rPr lang="de-CH" dirty="0"/>
              <a:t> </a:t>
            </a:r>
          </a:p>
          <a:p>
            <a:pPr lvl="1"/>
            <a:r>
              <a:rPr lang="de-CH" dirty="0"/>
              <a:t>Admin </a:t>
            </a:r>
            <a:r>
              <a:rPr lang="de-CH" dirty="0" err="1"/>
              <a:t>rights</a:t>
            </a:r>
            <a:endParaRPr lang="de-CH" dirty="0"/>
          </a:p>
          <a:p>
            <a:pPr lvl="1"/>
            <a:endParaRPr lang="de-CH" dirty="0"/>
          </a:p>
          <a:p>
            <a:pPr lvl="1"/>
            <a:endParaRPr lang="de-CH" dirty="0"/>
          </a:p>
          <a:p>
            <a:r>
              <a:rPr lang="de-CH" dirty="0"/>
              <a:t>Data </a:t>
            </a:r>
            <a:r>
              <a:rPr lang="de-CH" dirty="0" err="1"/>
              <a:t>administration</a:t>
            </a:r>
            <a:r>
              <a:rPr lang="de-CH" dirty="0"/>
              <a:t> via UI</a:t>
            </a:r>
          </a:p>
          <a:p>
            <a:pPr lvl="1"/>
            <a:r>
              <a:rPr lang="de-CH" dirty="0"/>
              <a:t>Performance </a:t>
            </a:r>
            <a:r>
              <a:rPr lang="de-CH" dirty="0" err="1"/>
              <a:t>low</a:t>
            </a:r>
            <a:endParaRPr lang="de-CH" dirty="0"/>
          </a:p>
          <a:p>
            <a:pPr lvl="1"/>
            <a:r>
              <a:rPr lang="de-CH" dirty="0"/>
              <a:t>Connections </a:t>
            </a:r>
            <a:r>
              <a:rPr lang="de-CH" dirty="0" err="1"/>
              <a:t>unstable</a:t>
            </a:r>
            <a:endParaRPr lang="de-CH" dirty="0"/>
          </a:p>
          <a:p>
            <a:pPr lvl="1"/>
            <a:endParaRPr lang="de-CH" dirty="0"/>
          </a:p>
          <a:p>
            <a:r>
              <a:rPr lang="de-CH" dirty="0"/>
              <a:t>Source code </a:t>
            </a:r>
            <a:r>
              <a:rPr lang="de-CH" dirty="0" err="1"/>
              <a:t>generation</a:t>
            </a:r>
            <a:r>
              <a:rPr lang="de-CH" dirty="0"/>
              <a:t> via UI</a:t>
            </a:r>
          </a:p>
          <a:p>
            <a:pPr lvl="1"/>
            <a:r>
              <a:rPr lang="de-CH" dirty="0"/>
              <a:t>Not easy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adapt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new</a:t>
            </a:r>
            <a:r>
              <a:rPr lang="de-CH" dirty="0"/>
              <a:t> </a:t>
            </a:r>
            <a:r>
              <a:rPr lang="de-CH" dirty="0" err="1"/>
              <a:t>technology</a:t>
            </a:r>
            <a:endParaRPr lang="de-CH" dirty="0"/>
          </a:p>
          <a:p>
            <a:pPr lvl="1"/>
            <a:r>
              <a:rPr lang="de-CH" dirty="0"/>
              <a:t>Raw </a:t>
            </a:r>
            <a:r>
              <a:rPr lang="de-CH" dirty="0" err="1"/>
              <a:t>data</a:t>
            </a:r>
            <a:r>
              <a:rPr lang="de-CH" dirty="0"/>
              <a:t> </a:t>
            </a:r>
            <a:r>
              <a:rPr lang="de-CH" dirty="0" err="1"/>
              <a:t>would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easi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some</a:t>
            </a:r>
            <a:endParaRPr lang="de-CH" dirty="0"/>
          </a:p>
          <a:p>
            <a:pPr lvl="1"/>
            <a:endParaRPr lang="de-CH" dirty="0"/>
          </a:p>
          <a:p>
            <a:pPr marL="0" indent="0">
              <a:buNone/>
            </a:pPr>
            <a:endParaRPr lang="de-CH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AAD6964-A55E-4276-BCC0-1E5E0FBF306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2AB1519-6174-4942-BAE6-B9994255C374}" type="datetime1">
              <a:rPr lang="de-CH" smtClean="0"/>
              <a:t>29.10.2020</a:t>
            </a:fld>
            <a:endParaRPr lang="de-CH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AFF9A42-CFB3-459F-A330-AA45008F13A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CH" dirty="0" err="1"/>
              <a:t>codes</a:t>
            </a:r>
            <a:r>
              <a:rPr lang="de-CH" dirty="0"/>
              <a:t>-and-texts @ </a:t>
            </a:r>
            <a:r>
              <a:rPr lang="de-CH" dirty="0" err="1"/>
              <a:t>codecamp</a:t>
            </a:r>
            <a:endParaRPr lang="de-CH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71EBC16-A301-4EE0-966A-01ECA09117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2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232770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113F8F-C16E-4559-898F-BDE7D1ACE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Codecamp</a:t>
            </a:r>
            <a:r>
              <a:rPr lang="de-CH" dirty="0"/>
              <a:t> 2019: </a:t>
            </a:r>
            <a:r>
              <a:rPr lang="de-CH" dirty="0" err="1"/>
              <a:t>codes</a:t>
            </a:r>
            <a:r>
              <a:rPr lang="de-CH" dirty="0"/>
              <a:t>-and-texts </a:t>
            </a:r>
            <a:r>
              <a:rPr lang="de-CH" dirty="0" err="1"/>
              <a:t>prototypes</a:t>
            </a:r>
            <a:endParaRPr lang="de-CH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5CB866E-9141-4A9B-9D02-647FB16ED5AD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CH" dirty="0" err="1"/>
              <a:t>cat</a:t>
            </a:r>
            <a:r>
              <a:rPr lang="de-CH" dirty="0"/>
              <a:t>-server</a:t>
            </a:r>
          </a:p>
          <a:p>
            <a:pPr lvl="1"/>
            <a:r>
              <a:rPr lang="de-CH" dirty="0" err="1"/>
              <a:t>SpringBoot</a:t>
            </a:r>
            <a:r>
              <a:rPr lang="de-CH" dirty="0"/>
              <a:t> </a:t>
            </a:r>
            <a:r>
              <a:rPr lang="de-CH" dirty="0" err="1"/>
              <a:t>application</a:t>
            </a:r>
            <a:endParaRPr lang="de-CH" dirty="0"/>
          </a:p>
          <a:p>
            <a:pPr lvl="1"/>
            <a:r>
              <a:rPr lang="de-CH" dirty="0"/>
              <a:t>Read </a:t>
            </a:r>
            <a:r>
              <a:rPr lang="de-CH" dirty="0" err="1"/>
              <a:t>data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PostgreSQL DB</a:t>
            </a:r>
          </a:p>
          <a:p>
            <a:pPr lvl="1"/>
            <a:r>
              <a:rPr lang="de-CH" dirty="0" err="1"/>
              <a:t>Expose</a:t>
            </a:r>
            <a:r>
              <a:rPr lang="de-CH" dirty="0"/>
              <a:t> </a:t>
            </a:r>
            <a:r>
              <a:rPr lang="de-CH" dirty="0" err="1"/>
              <a:t>data</a:t>
            </a:r>
            <a:r>
              <a:rPr lang="de-CH" dirty="0"/>
              <a:t> via Rest API</a:t>
            </a:r>
          </a:p>
          <a:p>
            <a:pPr lvl="1"/>
            <a:endParaRPr lang="de-CH" dirty="0"/>
          </a:p>
          <a:p>
            <a:r>
              <a:rPr lang="de-CH" dirty="0" err="1"/>
              <a:t>cat</a:t>
            </a:r>
            <a:r>
              <a:rPr lang="de-CH" dirty="0"/>
              <a:t>-client</a:t>
            </a:r>
          </a:p>
          <a:p>
            <a:pPr lvl="1"/>
            <a:r>
              <a:rPr lang="de-CH" dirty="0"/>
              <a:t>Angular </a:t>
            </a:r>
            <a:r>
              <a:rPr lang="de-CH" dirty="0" err="1"/>
              <a:t>client</a:t>
            </a:r>
            <a:r>
              <a:rPr lang="de-CH" dirty="0"/>
              <a:t> </a:t>
            </a:r>
            <a:r>
              <a:rPr lang="de-CH" dirty="0" err="1"/>
              <a:t>connect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mock</a:t>
            </a:r>
            <a:r>
              <a:rPr lang="de-CH" dirty="0"/>
              <a:t> DB</a:t>
            </a:r>
          </a:p>
          <a:p>
            <a:pPr lvl="1"/>
            <a:endParaRPr lang="de-CH" dirty="0"/>
          </a:p>
          <a:p>
            <a:r>
              <a:rPr lang="de-CH" dirty="0" err="1"/>
              <a:t>cat</a:t>
            </a:r>
            <a:r>
              <a:rPr lang="de-CH" dirty="0"/>
              <a:t>-</a:t>
            </a:r>
            <a:r>
              <a:rPr lang="de-CH" dirty="0" err="1"/>
              <a:t>vaadin</a:t>
            </a:r>
            <a:r>
              <a:rPr lang="de-CH" dirty="0"/>
              <a:t>-client</a:t>
            </a:r>
          </a:p>
          <a:p>
            <a:pPr lvl="1"/>
            <a:r>
              <a:rPr lang="de-CH" dirty="0" err="1"/>
              <a:t>Vaadin</a:t>
            </a:r>
            <a:r>
              <a:rPr lang="de-CH" dirty="0"/>
              <a:t> </a:t>
            </a:r>
            <a:r>
              <a:rPr lang="de-CH" dirty="0" err="1"/>
              <a:t>client</a:t>
            </a:r>
            <a:r>
              <a:rPr lang="de-CH" dirty="0"/>
              <a:t> </a:t>
            </a:r>
            <a:r>
              <a:rPr lang="de-CH" dirty="0" err="1"/>
              <a:t>connect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mock</a:t>
            </a:r>
            <a:r>
              <a:rPr lang="de-CH" dirty="0"/>
              <a:t> DB</a:t>
            </a:r>
          </a:p>
          <a:p>
            <a:pPr lvl="1"/>
            <a:r>
              <a:rPr lang="de-CH" dirty="0"/>
              <a:t>Supports </a:t>
            </a:r>
            <a:r>
              <a:rPr lang="de-CH" dirty="0" err="1"/>
              <a:t>applications</a:t>
            </a:r>
            <a:r>
              <a:rPr lang="de-CH" dirty="0"/>
              <a:t>, </a:t>
            </a:r>
            <a:r>
              <a:rPr lang="de-CH" dirty="0" err="1"/>
              <a:t>domains</a:t>
            </a:r>
            <a:r>
              <a:rPr lang="de-CH" dirty="0"/>
              <a:t>, </a:t>
            </a:r>
            <a:r>
              <a:rPr lang="de-CH" dirty="0" err="1"/>
              <a:t>codetypes</a:t>
            </a:r>
            <a:endParaRPr lang="de-CH" dirty="0"/>
          </a:p>
          <a:p>
            <a:pPr lvl="1"/>
            <a:endParaRPr lang="de-CH" dirty="0"/>
          </a:p>
          <a:p>
            <a:r>
              <a:rPr lang="de-CH" dirty="0" err="1"/>
              <a:t>cat</a:t>
            </a:r>
            <a:r>
              <a:rPr lang="de-CH" dirty="0"/>
              <a:t>-generator</a:t>
            </a:r>
          </a:p>
          <a:p>
            <a:pPr lvl="1"/>
            <a:r>
              <a:rPr lang="de-CH" dirty="0"/>
              <a:t>Connect </a:t>
            </a:r>
            <a:r>
              <a:rPr lang="de-CH" dirty="0" err="1"/>
              <a:t>to</a:t>
            </a:r>
            <a:r>
              <a:rPr lang="de-CH" dirty="0"/>
              <a:t> Rest-API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cat</a:t>
            </a:r>
            <a:r>
              <a:rPr lang="de-CH" dirty="0"/>
              <a:t>-server</a:t>
            </a:r>
          </a:p>
          <a:p>
            <a:pPr lvl="1"/>
            <a:r>
              <a:rPr lang="de-CH" dirty="0"/>
              <a:t>Create </a:t>
            </a:r>
            <a:r>
              <a:rPr lang="de-CH" dirty="0" err="1"/>
              <a:t>CuT-compatible</a:t>
            </a:r>
            <a:r>
              <a:rPr lang="de-CH" dirty="0"/>
              <a:t> code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json</a:t>
            </a:r>
            <a:endParaRPr lang="de-CH" dirty="0"/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endParaRPr lang="de-CH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AAD6964-A55E-4276-BCC0-1E5E0FBF306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2AB1519-6174-4942-BAE6-B9994255C374}" type="datetime1">
              <a:rPr lang="de-CH" smtClean="0"/>
              <a:t>29.10.2020</a:t>
            </a:fld>
            <a:endParaRPr lang="de-CH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AFF9A42-CFB3-459F-A330-AA45008F13A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CH" dirty="0" err="1"/>
              <a:t>codes</a:t>
            </a:r>
            <a:r>
              <a:rPr lang="de-CH" dirty="0"/>
              <a:t>-and-texts @ </a:t>
            </a:r>
            <a:r>
              <a:rPr lang="de-CH" dirty="0" err="1"/>
              <a:t>codecamp</a:t>
            </a:r>
            <a:endParaRPr lang="de-CH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71EBC16-A301-4EE0-966A-01ECA09117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3</a:t>
            </a:fld>
            <a:endParaRPr lang="de-CH" dirty="0"/>
          </a:p>
        </p:txBody>
      </p:sp>
      <p:sp>
        <p:nvSpPr>
          <p:cNvPr id="10" name="Zylinder 9">
            <a:extLst>
              <a:ext uri="{FF2B5EF4-FFF2-40B4-BE49-F238E27FC236}">
                <a16:creationId xmlns:a16="http://schemas.microsoft.com/office/drawing/2014/main" id="{2C8BE9E8-E778-415D-8495-9619E6342734}"/>
              </a:ext>
            </a:extLst>
          </p:cNvPr>
          <p:cNvSpPr/>
          <p:nvPr/>
        </p:nvSpPr>
        <p:spPr>
          <a:xfrm>
            <a:off x="1268096" y="4428283"/>
            <a:ext cx="742950" cy="81153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endParaRPr lang="de-CH" dirty="0" err="1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915A08D-C572-4274-B7C5-6CDAE2DA5D59}"/>
              </a:ext>
            </a:extLst>
          </p:cNvPr>
          <p:cNvSpPr/>
          <p:nvPr/>
        </p:nvSpPr>
        <p:spPr>
          <a:xfrm>
            <a:off x="1177290" y="3460794"/>
            <a:ext cx="925830" cy="676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endParaRPr lang="de-CH" dirty="0" err="1"/>
          </a:p>
        </p:txBody>
      </p:sp>
      <p:sp>
        <p:nvSpPr>
          <p:cNvPr id="13" name="Rahmen 12">
            <a:extLst>
              <a:ext uri="{FF2B5EF4-FFF2-40B4-BE49-F238E27FC236}">
                <a16:creationId xmlns:a16="http://schemas.microsoft.com/office/drawing/2014/main" id="{51C7A940-F9A9-49A8-B0E8-90335C2293E6}"/>
              </a:ext>
            </a:extLst>
          </p:cNvPr>
          <p:cNvSpPr/>
          <p:nvPr/>
        </p:nvSpPr>
        <p:spPr>
          <a:xfrm>
            <a:off x="902970" y="1477869"/>
            <a:ext cx="1485900" cy="1086492"/>
          </a:xfrm>
          <a:prstGeom prst="fram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endParaRPr lang="de-CH" dirty="0" err="1">
              <a:solidFill>
                <a:schemeClr val="tx1"/>
              </a:solidFill>
            </a:endParaRPr>
          </a:p>
        </p:txBody>
      </p:sp>
      <p:sp>
        <p:nvSpPr>
          <p:cNvPr id="14" name="Rahmen 13">
            <a:extLst>
              <a:ext uri="{FF2B5EF4-FFF2-40B4-BE49-F238E27FC236}">
                <a16:creationId xmlns:a16="http://schemas.microsoft.com/office/drawing/2014/main" id="{0127F53D-A2C5-479F-AF38-753AD21577B2}"/>
              </a:ext>
            </a:extLst>
          </p:cNvPr>
          <p:cNvSpPr/>
          <p:nvPr/>
        </p:nvSpPr>
        <p:spPr>
          <a:xfrm>
            <a:off x="3625056" y="3539511"/>
            <a:ext cx="1485900" cy="1086492"/>
          </a:xfrm>
          <a:prstGeom prst="fram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endParaRPr lang="de-CH" dirty="0" err="1">
              <a:solidFill>
                <a:schemeClr val="tx1"/>
              </a:solidFill>
            </a:endParaRPr>
          </a:p>
        </p:txBody>
      </p:sp>
      <p:sp>
        <p:nvSpPr>
          <p:cNvPr id="15" name="Fünfeck 14">
            <a:extLst>
              <a:ext uri="{FF2B5EF4-FFF2-40B4-BE49-F238E27FC236}">
                <a16:creationId xmlns:a16="http://schemas.microsoft.com/office/drawing/2014/main" id="{5F375321-7B05-4766-BC38-7CF6F54594B2}"/>
              </a:ext>
            </a:extLst>
          </p:cNvPr>
          <p:cNvSpPr/>
          <p:nvPr/>
        </p:nvSpPr>
        <p:spPr>
          <a:xfrm>
            <a:off x="3829526" y="1405518"/>
            <a:ext cx="1224280" cy="1231194"/>
          </a:xfrm>
          <a:prstGeom prst="pent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endParaRPr lang="de-CH" dirty="0" err="1"/>
          </a:p>
        </p:txBody>
      </p:sp>
      <p:cxnSp>
        <p:nvCxnSpPr>
          <p:cNvPr id="17" name="Verbinder: gewinkelt 16">
            <a:extLst>
              <a:ext uri="{FF2B5EF4-FFF2-40B4-BE49-F238E27FC236}">
                <a16:creationId xmlns:a16="http://schemas.microsoft.com/office/drawing/2014/main" id="{531B8221-64F8-41FC-A813-4BDE504926CE}"/>
              </a:ext>
            </a:extLst>
          </p:cNvPr>
          <p:cNvCxnSpPr>
            <a:cxnSpLocks/>
            <a:stCxn id="11" idx="2"/>
            <a:endCxn id="10" idx="1"/>
          </p:cNvCxnSpPr>
          <p:nvPr/>
        </p:nvCxnSpPr>
        <p:spPr>
          <a:xfrm rot="5400000">
            <a:off x="1494586" y="4282663"/>
            <a:ext cx="290605" cy="634"/>
          </a:xfrm>
          <a:prstGeom prst="bentConnector3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62979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113F8F-C16E-4559-898F-BDE7D1ACE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175" y="441324"/>
            <a:ext cx="10153650" cy="885199"/>
          </a:xfrm>
        </p:spPr>
        <p:txBody>
          <a:bodyPr/>
          <a:lstStyle/>
          <a:p>
            <a:r>
              <a:rPr lang="de-CH" dirty="0" err="1"/>
              <a:t>Codecamp</a:t>
            </a:r>
            <a:r>
              <a:rPr lang="de-CH" dirty="0"/>
              <a:t> 2020: </a:t>
            </a:r>
            <a:r>
              <a:rPr lang="de-CH" dirty="0" err="1"/>
              <a:t>codes</a:t>
            </a:r>
            <a:r>
              <a:rPr lang="de-CH" dirty="0"/>
              <a:t>-and-texts </a:t>
            </a:r>
            <a:r>
              <a:rPr lang="de-CH" dirty="0" err="1"/>
              <a:t>fill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gaps</a:t>
            </a:r>
            <a:endParaRPr lang="de-CH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5CB866E-9141-4A9B-9D02-647FB16ED5AD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CH" dirty="0" err="1"/>
              <a:t>cat</a:t>
            </a:r>
            <a:r>
              <a:rPr lang="de-CH" dirty="0"/>
              <a:t>-server</a:t>
            </a:r>
          </a:p>
          <a:p>
            <a:pPr lvl="1"/>
            <a:r>
              <a:rPr lang="de-CH" dirty="0" err="1"/>
              <a:t>Deployab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Baloise </a:t>
            </a:r>
            <a:r>
              <a:rPr lang="de-CH" dirty="0" err="1"/>
              <a:t>incubator</a:t>
            </a:r>
            <a:r>
              <a:rPr lang="de-CH" dirty="0"/>
              <a:t> </a:t>
            </a:r>
            <a:r>
              <a:rPr lang="de-CH" dirty="0" err="1"/>
              <a:t>OpenShift</a:t>
            </a:r>
            <a:endParaRPr lang="de-CH" dirty="0"/>
          </a:p>
          <a:p>
            <a:pPr lvl="1"/>
            <a:r>
              <a:rPr lang="de-CH" dirty="0"/>
              <a:t>Security </a:t>
            </a:r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KeyCloak</a:t>
            </a:r>
            <a:endParaRPr lang="de-CH" dirty="0"/>
          </a:p>
          <a:p>
            <a:pPr lvl="1"/>
            <a:endParaRPr lang="de-CH" dirty="0"/>
          </a:p>
          <a:p>
            <a:r>
              <a:rPr lang="de-CH" strike="sngStrike" dirty="0" err="1"/>
              <a:t>cat</a:t>
            </a:r>
            <a:r>
              <a:rPr lang="de-CH" strike="sngStrike" dirty="0"/>
              <a:t>-client</a:t>
            </a:r>
          </a:p>
          <a:p>
            <a:pPr lvl="1"/>
            <a:endParaRPr lang="de-CH" dirty="0"/>
          </a:p>
          <a:p>
            <a:r>
              <a:rPr lang="de-CH" dirty="0" err="1"/>
              <a:t>cat</a:t>
            </a:r>
            <a:r>
              <a:rPr lang="de-CH" dirty="0"/>
              <a:t>-</a:t>
            </a:r>
            <a:r>
              <a:rPr lang="de-CH" dirty="0" err="1"/>
              <a:t>vaadin</a:t>
            </a:r>
            <a:r>
              <a:rPr lang="de-CH" dirty="0"/>
              <a:t>-client</a:t>
            </a:r>
          </a:p>
          <a:p>
            <a:pPr lvl="1"/>
            <a:r>
              <a:rPr lang="de-CH" dirty="0"/>
              <a:t>Connect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at</a:t>
            </a:r>
            <a:r>
              <a:rPr lang="de-CH" dirty="0"/>
              <a:t>-server</a:t>
            </a:r>
          </a:p>
          <a:p>
            <a:pPr lvl="1"/>
            <a:r>
              <a:rPr lang="de-CH" dirty="0"/>
              <a:t>Support also Texts</a:t>
            </a:r>
          </a:p>
          <a:p>
            <a:pPr marL="252000" lvl="1" indent="0">
              <a:buNone/>
            </a:pPr>
            <a:endParaRPr lang="de-CH" dirty="0"/>
          </a:p>
          <a:p>
            <a:r>
              <a:rPr lang="de-CH" dirty="0" err="1"/>
              <a:t>cat-api</a:t>
            </a:r>
            <a:r>
              <a:rPr lang="de-CH" dirty="0"/>
              <a:t> (</a:t>
            </a:r>
            <a:r>
              <a:rPr lang="de-CH" dirty="0" err="1"/>
              <a:t>cat</a:t>
            </a:r>
            <a:r>
              <a:rPr lang="de-CH" dirty="0"/>
              <a:t>-adapter)</a:t>
            </a:r>
          </a:p>
          <a:p>
            <a:pPr lvl="1"/>
            <a:r>
              <a:rPr lang="de-CH" dirty="0"/>
              <a:t>Connect </a:t>
            </a:r>
            <a:r>
              <a:rPr lang="de-CH" dirty="0" err="1"/>
              <a:t>to</a:t>
            </a:r>
            <a:r>
              <a:rPr lang="de-CH" dirty="0"/>
              <a:t> Rest-API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cat</a:t>
            </a:r>
            <a:r>
              <a:rPr lang="de-CH" dirty="0"/>
              <a:t>-server</a:t>
            </a:r>
          </a:p>
          <a:p>
            <a:pPr lvl="1"/>
            <a:r>
              <a:rPr lang="de-CH" dirty="0"/>
              <a:t>Download </a:t>
            </a:r>
            <a:r>
              <a:rPr lang="de-CH" dirty="0" err="1"/>
              <a:t>json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fil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service</a:t>
            </a:r>
            <a:endParaRPr lang="de-CH" dirty="0"/>
          </a:p>
          <a:p>
            <a:pPr lvl="1"/>
            <a:r>
              <a:rPr lang="de-CH" dirty="0" err="1"/>
              <a:t>Provide</a:t>
            </a:r>
            <a:r>
              <a:rPr lang="de-CH" dirty="0"/>
              <a:t> simple API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codes</a:t>
            </a:r>
            <a:r>
              <a:rPr lang="de-CH" dirty="0"/>
              <a:t> and </a:t>
            </a:r>
            <a:r>
              <a:rPr lang="de-CH" dirty="0" err="1"/>
              <a:t>texts</a:t>
            </a:r>
            <a:endParaRPr lang="de-CH" dirty="0"/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endParaRPr lang="de-CH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AAD6964-A55E-4276-BCC0-1E5E0FBF306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2AB1519-6174-4942-BAE6-B9994255C374}" type="datetime1">
              <a:rPr lang="de-CH" smtClean="0"/>
              <a:t>29.10.2020</a:t>
            </a:fld>
            <a:endParaRPr lang="de-CH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AFF9A42-CFB3-459F-A330-AA45008F13A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CH" dirty="0" err="1"/>
              <a:t>codes</a:t>
            </a:r>
            <a:r>
              <a:rPr lang="de-CH" dirty="0"/>
              <a:t>-and-texts @ </a:t>
            </a:r>
            <a:r>
              <a:rPr lang="de-CH" dirty="0" err="1"/>
              <a:t>codecamp</a:t>
            </a:r>
            <a:endParaRPr lang="de-CH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71EBC16-A301-4EE0-966A-01ECA09117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4</a:t>
            </a:fld>
            <a:endParaRPr lang="de-CH" dirty="0"/>
          </a:p>
        </p:txBody>
      </p:sp>
      <p:sp>
        <p:nvSpPr>
          <p:cNvPr id="8" name="Zylinder 7">
            <a:extLst>
              <a:ext uri="{FF2B5EF4-FFF2-40B4-BE49-F238E27FC236}">
                <a16:creationId xmlns:a16="http://schemas.microsoft.com/office/drawing/2014/main" id="{AF71135B-8817-45A7-AFE6-5ECB23907CA2}"/>
              </a:ext>
            </a:extLst>
          </p:cNvPr>
          <p:cNvSpPr/>
          <p:nvPr/>
        </p:nvSpPr>
        <p:spPr>
          <a:xfrm>
            <a:off x="2005965" y="4345344"/>
            <a:ext cx="742950" cy="81153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endParaRPr lang="de-CH" dirty="0" err="1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1758AA1-A648-4600-820B-89CE4942182E}"/>
              </a:ext>
            </a:extLst>
          </p:cNvPr>
          <p:cNvSpPr/>
          <p:nvPr/>
        </p:nvSpPr>
        <p:spPr>
          <a:xfrm>
            <a:off x="1920241" y="3218483"/>
            <a:ext cx="925830" cy="676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endParaRPr lang="de-CH" dirty="0" err="1"/>
          </a:p>
        </p:txBody>
      </p:sp>
      <p:sp>
        <p:nvSpPr>
          <p:cNvPr id="11" name="Rahmen 10">
            <a:extLst>
              <a:ext uri="{FF2B5EF4-FFF2-40B4-BE49-F238E27FC236}">
                <a16:creationId xmlns:a16="http://schemas.microsoft.com/office/drawing/2014/main" id="{EA047400-5B0C-489F-B472-1359A271323E}"/>
              </a:ext>
            </a:extLst>
          </p:cNvPr>
          <p:cNvSpPr/>
          <p:nvPr/>
        </p:nvSpPr>
        <p:spPr>
          <a:xfrm>
            <a:off x="1634490" y="1701126"/>
            <a:ext cx="1485900" cy="1086492"/>
          </a:xfrm>
          <a:prstGeom prst="fram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endParaRPr lang="de-CH" dirty="0" err="1">
              <a:solidFill>
                <a:schemeClr val="tx1"/>
              </a:solidFill>
            </a:endParaRPr>
          </a:p>
        </p:txBody>
      </p:sp>
      <p:sp>
        <p:nvSpPr>
          <p:cNvPr id="13" name="Fünfeck 12">
            <a:extLst>
              <a:ext uri="{FF2B5EF4-FFF2-40B4-BE49-F238E27FC236}">
                <a16:creationId xmlns:a16="http://schemas.microsoft.com/office/drawing/2014/main" id="{C805873D-6375-4ECB-AB3B-16F603840E9B}"/>
              </a:ext>
            </a:extLst>
          </p:cNvPr>
          <p:cNvSpPr/>
          <p:nvPr/>
        </p:nvSpPr>
        <p:spPr>
          <a:xfrm>
            <a:off x="3672840" y="1628775"/>
            <a:ext cx="1224280" cy="1231194"/>
          </a:xfrm>
          <a:prstGeom prst="pent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endParaRPr lang="de-CH" dirty="0" err="1"/>
          </a:p>
        </p:txBody>
      </p:sp>
      <p:cxnSp>
        <p:nvCxnSpPr>
          <p:cNvPr id="14" name="Verbinder: gewinkelt 13">
            <a:extLst>
              <a:ext uri="{FF2B5EF4-FFF2-40B4-BE49-F238E27FC236}">
                <a16:creationId xmlns:a16="http://schemas.microsoft.com/office/drawing/2014/main" id="{47FEB13F-EB14-4E47-92D5-BE00F600F652}"/>
              </a:ext>
            </a:extLst>
          </p:cNvPr>
          <p:cNvCxnSpPr>
            <a:cxnSpLocks/>
            <a:stCxn id="10" idx="2"/>
            <a:endCxn id="8" idx="1"/>
          </p:cNvCxnSpPr>
          <p:nvPr/>
        </p:nvCxnSpPr>
        <p:spPr>
          <a:xfrm rot="5400000">
            <a:off x="2155310" y="4117497"/>
            <a:ext cx="449977" cy="5716"/>
          </a:xfrm>
          <a:prstGeom prst="bentConnector3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Verbinder: gewinkelt 14">
            <a:extLst>
              <a:ext uri="{FF2B5EF4-FFF2-40B4-BE49-F238E27FC236}">
                <a16:creationId xmlns:a16="http://schemas.microsoft.com/office/drawing/2014/main" id="{83ACA99A-3124-4B51-99DF-6EE9737842EA}"/>
              </a:ext>
            </a:extLst>
          </p:cNvPr>
          <p:cNvCxnSpPr>
            <a:cxnSpLocks/>
            <a:stCxn id="11" idx="2"/>
            <a:endCxn id="10" idx="0"/>
          </p:cNvCxnSpPr>
          <p:nvPr/>
        </p:nvCxnSpPr>
        <p:spPr>
          <a:xfrm rot="16200000" flipH="1">
            <a:off x="2164866" y="3000192"/>
            <a:ext cx="430865" cy="5716"/>
          </a:xfrm>
          <a:prstGeom prst="bentConnector3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B488553F-8449-4FD2-B733-3FA797B99A4D}"/>
              </a:ext>
            </a:extLst>
          </p:cNvPr>
          <p:cNvCxnSpPr>
            <a:cxnSpLocks/>
            <a:stCxn id="13" idx="3"/>
            <a:endCxn id="10" idx="3"/>
          </p:cNvCxnSpPr>
          <p:nvPr/>
        </p:nvCxnSpPr>
        <p:spPr>
          <a:xfrm rot="5400000">
            <a:off x="3217048" y="2488993"/>
            <a:ext cx="696956" cy="1438909"/>
          </a:xfrm>
          <a:prstGeom prst="bentConnector2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1585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113F8F-C16E-4559-898F-BDE7D1ACE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175" y="441324"/>
            <a:ext cx="10153650" cy="885199"/>
          </a:xfrm>
        </p:spPr>
        <p:txBody>
          <a:bodyPr/>
          <a:lstStyle/>
          <a:p>
            <a:r>
              <a:rPr lang="de-CH" dirty="0" err="1"/>
              <a:t>Codecamp</a:t>
            </a:r>
            <a:r>
              <a:rPr lang="de-CH" dirty="0"/>
              <a:t> 2020: </a:t>
            </a:r>
            <a:r>
              <a:rPr lang="de-CH" dirty="0" err="1"/>
              <a:t>Vaadin</a:t>
            </a:r>
            <a:r>
              <a:rPr lang="de-CH" dirty="0"/>
              <a:t> Client Demo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AAD6964-A55E-4276-BCC0-1E5E0FBF306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2AB1519-6174-4942-BAE6-B9994255C374}" type="datetime1">
              <a:rPr lang="de-CH" smtClean="0"/>
              <a:t>29.10.2020</a:t>
            </a:fld>
            <a:endParaRPr lang="de-CH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AFF9A42-CFB3-459F-A330-AA45008F13A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CH" dirty="0" err="1"/>
              <a:t>codes</a:t>
            </a:r>
            <a:r>
              <a:rPr lang="de-CH" dirty="0"/>
              <a:t>-and-texts @ </a:t>
            </a:r>
            <a:r>
              <a:rPr lang="de-CH" dirty="0" err="1"/>
              <a:t>codecamp</a:t>
            </a:r>
            <a:endParaRPr lang="de-CH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71EBC16-A301-4EE0-966A-01ECA09117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5</a:t>
            </a:fld>
            <a:endParaRPr lang="de-CH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19A9D7-E61B-49B3-B077-D1EFCF50C355}"/>
              </a:ext>
            </a:extLst>
          </p:cNvPr>
          <p:cNvSpPr/>
          <p:nvPr/>
        </p:nvSpPr>
        <p:spPr>
          <a:xfrm>
            <a:off x="3633580" y="2600617"/>
            <a:ext cx="4708942" cy="8283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dirty="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at-vaadin.apps.baloise.dev/</a:t>
            </a:r>
            <a:endParaRPr lang="de-CH" dirty="0">
              <a:solidFill>
                <a:schemeClr val="bg1"/>
              </a:solidFill>
            </a:endParaRPr>
          </a:p>
          <a:p>
            <a:pPr algn="ctr"/>
            <a:r>
              <a:rPr lang="de-CH" dirty="0">
                <a:solidFill>
                  <a:schemeClr val="bg1"/>
                </a:solidFill>
              </a:rPr>
              <a:t>User: </a:t>
            </a:r>
            <a:r>
              <a:rPr lang="de-CH" dirty="0" err="1">
                <a:solidFill>
                  <a:schemeClr val="bg1"/>
                </a:solidFill>
              </a:rPr>
              <a:t>admin</a:t>
            </a:r>
            <a:r>
              <a:rPr lang="de-CH" dirty="0">
                <a:solidFill>
                  <a:schemeClr val="bg1"/>
                </a:solidFill>
              </a:rPr>
              <a:t> / Pass: </a:t>
            </a:r>
            <a:r>
              <a:rPr lang="de-CH" dirty="0" err="1">
                <a:solidFill>
                  <a:schemeClr val="bg1"/>
                </a:solidFill>
              </a:rPr>
              <a:t>admin</a:t>
            </a:r>
            <a:endParaRPr lang="de-CH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50827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113F8F-C16E-4559-898F-BDE7D1ACE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175" y="441324"/>
            <a:ext cx="10153650" cy="885199"/>
          </a:xfrm>
        </p:spPr>
        <p:txBody>
          <a:bodyPr/>
          <a:lstStyle/>
          <a:p>
            <a:r>
              <a:rPr lang="de-CH" dirty="0" err="1"/>
              <a:t>Codecamp</a:t>
            </a:r>
            <a:r>
              <a:rPr lang="de-CH" dirty="0"/>
              <a:t> 2020: backend/</a:t>
            </a:r>
            <a:r>
              <a:rPr lang="de-CH" dirty="0" err="1"/>
              <a:t>persistence</a:t>
            </a:r>
            <a:endParaRPr lang="de-CH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AAD6964-A55E-4276-BCC0-1E5E0FBF306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2AB1519-6174-4942-BAE6-B9994255C374}" type="datetime1">
              <a:rPr lang="de-CH" smtClean="0"/>
              <a:t>29.10.2020</a:t>
            </a:fld>
            <a:endParaRPr lang="de-CH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AFF9A42-CFB3-459F-A330-AA45008F13A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CH" dirty="0" err="1"/>
              <a:t>codes</a:t>
            </a:r>
            <a:r>
              <a:rPr lang="de-CH" dirty="0"/>
              <a:t>-and-texts @ </a:t>
            </a:r>
            <a:r>
              <a:rPr lang="de-CH" dirty="0" err="1"/>
              <a:t>codecamp</a:t>
            </a:r>
            <a:endParaRPr lang="de-CH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71EBC16-A301-4EE0-966A-01ECA09117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6</a:t>
            </a:fld>
            <a:endParaRPr lang="de-CH" dirty="0"/>
          </a:p>
        </p:txBody>
      </p:sp>
      <p:sp>
        <p:nvSpPr>
          <p:cNvPr id="29" name="Zylinder 28">
            <a:extLst>
              <a:ext uri="{FF2B5EF4-FFF2-40B4-BE49-F238E27FC236}">
                <a16:creationId xmlns:a16="http://schemas.microsoft.com/office/drawing/2014/main" id="{FE9E0B8F-DD7E-41E9-87DD-967A58CB2F8E}"/>
              </a:ext>
            </a:extLst>
          </p:cNvPr>
          <p:cNvSpPr/>
          <p:nvPr/>
        </p:nvSpPr>
        <p:spPr>
          <a:xfrm>
            <a:off x="647700" y="4437812"/>
            <a:ext cx="742950" cy="81153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endParaRPr lang="de-CH" dirty="0" err="1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EDFB4D7-32C3-4873-B7AC-CF623B3A83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9765" y="992686"/>
            <a:ext cx="8030712" cy="5144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65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113F8F-C16E-4559-898F-BDE7D1ACE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175" y="441324"/>
            <a:ext cx="10153650" cy="885199"/>
          </a:xfrm>
        </p:spPr>
        <p:txBody>
          <a:bodyPr/>
          <a:lstStyle/>
          <a:p>
            <a:r>
              <a:rPr lang="de-CH" dirty="0" err="1"/>
              <a:t>Codecamp</a:t>
            </a:r>
            <a:r>
              <a:rPr lang="de-CH" dirty="0"/>
              <a:t> 2020: backend: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w</a:t>
            </a:r>
            <a:r>
              <a:rPr lang="de-CH" dirty="0"/>
              <a:t> API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AAD6964-A55E-4276-BCC0-1E5E0FBF306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2AB1519-6174-4942-BAE6-B9994255C374}" type="datetime1">
              <a:rPr lang="de-CH" smtClean="0"/>
              <a:t>29.10.2020</a:t>
            </a:fld>
            <a:endParaRPr lang="de-CH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AFF9A42-CFB3-459F-A330-AA45008F13A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CH" dirty="0" err="1"/>
              <a:t>codes</a:t>
            </a:r>
            <a:r>
              <a:rPr lang="de-CH" dirty="0"/>
              <a:t>-and-texts @ </a:t>
            </a:r>
            <a:r>
              <a:rPr lang="de-CH" dirty="0" err="1"/>
              <a:t>codecamp</a:t>
            </a:r>
            <a:endParaRPr lang="de-CH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71EBC16-A301-4EE0-966A-01ECA09117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7</a:t>
            </a:fld>
            <a:endParaRPr lang="de-CH" dirty="0"/>
          </a:p>
        </p:txBody>
      </p:sp>
      <p:pic>
        <p:nvPicPr>
          <p:cNvPr id="9" name="Grafik 8">
            <a:hlinkClick r:id="rId2"/>
            <a:extLst>
              <a:ext uri="{FF2B5EF4-FFF2-40B4-BE49-F238E27FC236}">
                <a16:creationId xmlns:a16="http://schemas.microsoft.com/office/drawing/2014/main" id="{D335B4ED-39C7-4885-BF44-9477071155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4837" y="2554468"/>
            <a:ext cx="3495675" cy="1304925"/>
          </a:xfrm>
          <a:prstGeom prst="rect">
            <a:avLst/>
          </a:prstGeom>
        </p:spPr>
      </p:pic>
      <p:sp>
        <p:nvSpPr>
          <p:cNvPr id="10" name="Textfeld 9">
            <a:hlinkClick r:id="rId2"/>
            <a:extLst>
              <a:ext uri="{FF2B5EF4-FFF2-40B4-BE49-F238E27FC236}">
                <a16:creationId xmlns:a16="http://schemas.microsoft.com/office/drawing/2014/main" id="{A372BD73-1286-41A6-941E-2C87D890123F}"/>
              </a:ext>
            </a:extLst>
          </p:cNvPr>
          <p:cNvSpPr txBox="1"/>
          <p:nvPr/>
        </p:nvSpPr>
        <p:spPr>
          <a:xfrm>
            <a:off x="2442754" y="3971109"/>
            <a:ext cx="6697663" cy="3788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CH" dirty="0"/>
              <a:t>https://cat-server.apps.baloise.dev/swagger-ui/index.html</a:t>
            </a:r>
          </a:p>
        </p:txBody>
      </p:sp>
    </p:spTree>
    <p:extLst>
      <p:ext uri="{BB962C8B-B14F-4D97-AF65-F5344CB8AC3E}">
        <p14:creationId xmlns:p14="http://schemas.microsoft.com/office/powerpoint/2010/main" val="30084509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113F8F-C16E-4559-898F-BDE7D1ACE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175" y="441324"/>
            <a:ext cx="10153650" cy="885199"/>
          </a:xfrm>
        </p:spPr>
        <p:txBody>
          <a:bodyPr/>
          <a:lstStyle/>
          <a:p>
            <a:r>
              <a:rPr lang="de-CH" dirty="0" err="1"/>
              <a:t>Codecamp</a:t>
            </a:r>
            <a:r>
              <a:rPr lang="de-CH" dirty="0"/>
              <a:t> 2020: </a:t>
            </a:r>
            <a:r>
              <a:rPr lang="de-CH" dirty="0" err="1"/>
              <a:t>deployment</a:t>
            </a:r>
            <a:endParaRPr lang="de-CH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AAD6964-A55E-4276-BCC0-1E5E0FBF306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2AB1519-6174-4942-BAE6-B9994255C374}" type="datetime1">
              <a:rPr lang="de-CH" smtClean="0"/>
              <a:t>29.10.2020</a:t>
            </a:fld>
            <a:endParaRPr lang="de-CH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AFF9A42-CFB3-459F-A330-AA45008F13A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CH" dirty="0" err="1"/>
              <a:t>codes</a:t>
            </a:r>
            <a:r>
              <a:rPr lang="de-CH" dirty="0"/>
              <a:t>-and-texts @ </a:t>
            </a:r>
            <a:r>
              <a:rPr lang="de-CH" dirty="0" err="1"/>
              <a:t>codecamp</a:t>
            </a:r>
            <a:endParaRPr lang="de-CH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71EBC16-A301-4EE0-966A-01ECA09117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850564" y="5704433"/>
            <a:ext cx="322261" cy="216000"/>
          </a:xfrm>
        </p:spPr>
        <p:txBody>
          <a:bodyPr/>
          <a:lstStyle/>
          <a:p>
            <a:fld id="{E5CD4E9B-BCA1-49D6-A6CF-2D362896A9F8}" type="slidenum">
              <a:rPr lang="de-CH" smtClean="0"/>
              <a:pPr/>
              <a:t>8</a:t>
            </a:fld>
            <a:endParaRPr lang="de-CH" dirty="0"/>
          </a:p>
        </p:txBody>
      </p:sp>
      <p:sp>
        <p:nvSpPr>
          <p:cNvPr id="11" name="Zylinder 10">
            <a:extLst>
              <a:ext uri="{FF2B5EF4-FFF2-40B4-BE49-F238E27FC236}">
                <a16:creationId xmlns:a16="http://schemas.microsoft.com/office/drawing/2014/main" id="{0099A279-2F27-422E-889A-C4B4644FA305}"/>
              </a:ext>
            </a:extLst>
          </p:cNvPr>
          <p:cNvSpPr/>
          <p:nvPr/>
        </p:nvSpPr>
        <p:spPr>
          <a:xfrm>
            <a:off x="8376613" y="410357"/>
            <a:ext cx="462667" cy="54496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endParaRPr lang="de-CH" dirty="0" err="1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5DFE999-29D5-4047-A7B1-CE76FB029C3D}"/>
              </a:ext>
            </a:extLst>
          </p:cNvPr>
          <p:cNvSpPr/>
          <p:nvPr/>
        </p:nvSpPr>
        <p:spPr>
          <a:xfrm>
            <a:off x="7351343" y="461909"/>
            <a:ext cx="581395" cy="4463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endParaRPr lang="de-CH" dirty="0" err="1"/>
          </a:p>
        </p:txBody>
      </p:sp>
      <p:sp>
        <p:nvSpPr>
          <p:cNvPr id="13" name="Rahmen 12">
            <a:extLst>
              <a:ext uri="{FF2B5EF4-FFF2-40B4-BE49-F238E27FC236}">
                <a16:creationId xmlns:a16="http://schemas.microsoft.com/office/drawing/2014/main" id="{54D419FB-2ED7-46CB-8A24-42452C85395B}"/>
              </a:ext>
            </a:extLst>
          </p:cNvPr>
          <p:cNvSpPr/>
          <p:nvPr/>
        </p:nvSpPr>
        <p:spPr>
          <a:xfrm>
            <a:off x="6137096" y="361064"/>
            <a:ext cx="831307" cy="643547"/>
          </a:xfrm>
          <a:prstGeom prst="fram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endParaRPr lang="de-CH" dirty="0" err="1">
              <a:solidFill>
                <a:schemeClr val="tx1"/>
              </a:solidFill>
            </a:endParaRPr>
          </a:p>
        </p:txBody>
      </p:sp>
      <p:cxnSp>
        <p:nvCxnSpPr>
          <p:cNvPr id="14" name="Verbinder: gewinkelt 13">
            <a:extLst>
              <a:ext uri="{FF2B5EF4-FFF2-40B4-BE49-F238E27FC236}">
                <a16:creationId xmlns:a16="http://schemas.microsoft.com/office/drawing/2014/main" id="{28490DB1-A327-4480-B775-4D0416243394}"/>
              </a:ext>
            </a:extLst>
          </p:cNvPr>
          <p:cNvCxnSpPr>
            <a:cxnSpLocks/>
            <a:stCxn id="12" idx="3"/>
            <a:endCxn id="11" idx="2"/>
          </p:cNvCxnSpPr>
          <p:nvPr/>
        </p:nvCxnSpPr>
        <p:spPr>
          <a:xfrm flipV="1">
            <a:off x="7932738" y="682837"/>
            <a:ext cx="443875" cy="2257"/>
          </a:xfrm>
          <a:prstGeom prst="bentConnector3">
            <a:avLst>
              <a:gd name="adj1" fmla="val 50000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Verbinder: gewinkelt 14">
            <a:extLst>
              <a:ext uri="{FF2B5EF4-FFF2-40B4-BE49-F238E27FC236}">
                <a16:creationId xmlns:a16="http://schemas.microsoft.com/office/drawing/2014/main" id="{8CE93F36-5266-4E32-8C74-83C648C67083}"/>
              </a:ext>
            </a:extLst>
          </p:cNvPr>
          <p:cNvCxnSpPr>
            <a:cxnSpLocks/>
            <a:stCxn id="13" idx="3"/>
            <a:endCxn id="12" idx="1"/>
          </p:cNvCxnSpPr>
          <p:nvPr/>
        </p:nvCxnSpPr>
        <p:spPr>
          <a:xfrm>
            <a:off x="6968403" y="682838"/>
            <a:ext cx="382940" cy="2256"/>
          </a:xfrm>
          <a:prstGeom prst="bentConnector3">
            <a:avLst>
              <a:gd name="adj1" fmla="val 50000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AE27E964-1AF6-42F0-89BE-B0B980D5B7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175" y="1274211"/>
            <a:ext cx="684934" cy="684934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952C6D04-BF55-4926-81DE-CE83515148F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521" y="4393840"/>
            <a:ext cx="1534758" cy="1526593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00CBAB5B-F60C-4A03-A7D0-4BB40390139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8412" y="4586558"/>
            <a:ext cx="466179" cy="574661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725A665A-3071-4698-A28E-3140D1A010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7599" y="5259960"/>
            <a:ext cx="466179" cy="574661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E5C5F20B-8C6E-41D6-AF6D-F988030FD4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9573" y="1383913"/>
            <a:ext cx="684934" cy="684934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5D040700-BC04-4889-B824-1A595EA9B8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3656" y="2923789"/>
            <a:ext cx="650531" cy="95250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A62AE875-3FC1-402A-841E-434C6A28E2C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0410" y="2561748"/>
            <a:ext cx="1663112" cy="1663112"/>
          </a:xfrm>
          <a:prstGeom prst="rect">
            <a:avLst/>
          </a:prstGeom>
        </p:spPr>
      </p:pic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42DD3439-E3A2-4669-889A-EB8AC4E83A0C}"/>
              </a:ext>
            </a:extLst>
          </p:cNvPr>
          <p:cNvSpPr/>
          <p:nvPr/>
        </p:nvSpPr>
        <p:spPr>
          <a:xfrm>
            <a:off x="1683327" y="1837115"/>
            <a:ext cx="1017385" cy="3103952"/>
          </a:xfrm>
          <a:custGeom>
            <a:avLst/>
            <a:gdLst>
              <a:gd name="connsiteX0" fmla="*/ 0 w 968794"/>
              <a:gd name="connsiteY0" fmla="*/ 0 h 3092089"/>
              <a:gd name="connsiteX1" fmla="*/ 935182 w 968794"/>
              <a:gd name="connsiteY1" fmla="*/ 1506682 h 3092089"/>
              <a:gd name="connsiteX2" fmla="*/ 758537 w 968794"/>
              <a:gd name="connsiteY2" fmla="*/ 2867891 h 3092089"/>
              <a:gd name="connsiteX3" fmla="*/ 727364 w 968794"/>
              <a:gd name="connsiteY3" fmla="*/ 3075709 h 3092089"/>
              <a:gd name="connsiteX0" fmla="*/ 0 w 1154175"/>
              <a:gd name="connsiteY0" fmla="*/ 0 h 3098832"/>
              <a:gd name="connsiteX1" fmla="*/ 1131125 w 1154175"/>
              <a:gd name="connsiteY1" fmla="*/ 1323802 h 3098832"/>
              <a:gd name="connsiteX2" fmla="*/ 758537 w 1154175"/>
              <a:gd name="connsiteY2" fmla="*/ 2867891 h 3098832"/>
              <a:gd name="connsiteX3" fmla="*/ 727364 w 1154175"/>
              <a:gd name="connsiteY3" fmla="*/ 3075709 h 3098832"/>
              <a:gd name="connsiteX0" fmla="*/ 0 w 1017385"/>
              <a:gd name="connsiteY0" fmla="*/ 0 h 3103952"/>
              <a:gd name="connsiteX1" fmla="*/ 987434 w 1017385"/>
              <a:gd name="connsiteY1" fmla="*/ 1206237 h 3103952"/>
              <a:gd name="connsiteX2" fmla="*/ 758537 w 1017385"/>
              <a:gd name="connsiteY2" fmla="*/ 2867891 h 3103952"/>
              <a:gd name="connsiteX3" fmla="*/ 727364 w 1017385"/>
              <a:gd name="connsiteY3" fmla="*/ 3075709 h 3103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7385" h="3103952">
                <a:moveTo>
                  <a:pt x="0" y="0"/>
                </a:moveTo>
                <a:cubicBezTo>
                  <a:pt x="404379" y="514350"/>
                  <a:pt x="861011" y="728255"/>
                  <a:pt x="987434" y="1206237"/>
                </a:cubicBezTo>
                <a:cubicBezTo>
                  <a:pt x="1113857" y="1684219"/>
                  <a:pt x="801882" y="2556312"/>
                  <a:pt x="758537" y="2867891"/>
                </a:cubicBezTo>
                <a:cubicBezTo>
                  <a:pt x="715192" y="3179470"/>
                  <a:pt x="725632" y="3102552"/>
                  <a:pt x="727364" y="3075709"/>
                </a:cubicBezTo>
              </a:path>
            </a:pathLst>
          </a:custGeom>
          <a:noFill/>
          <a:ln w="25400" cap="flat">
            <a:solidFill>
              <a:srgbClr val="208AFF"/>
            </a:solidFill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E86C9466-6627-47FE-8A75-CEF6B0037F6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7050" y="4087585"/>
            <a:ext cx="622577" cy="605553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FA7D6C32-C139-4663-8EBD-42B8BF0B8E1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7051" y="4826659"/>
            <a:ext cx="622577" cy="605553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0E46636C-24BB-4EE2-AFC2-E22B4E38E9A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7050" y="5538035"/>
            <a:ext cx="622577" cy="605553"/>
          </a:xfrm>
          <a:prstGeom prst="rect">
            <a:avLst/>
          </a:prstGeom>
        </p:spPr>
      </p:pic>
      <p:sp>
        <p:nvSpPr>
          <p:cNvPr id="36" name="Textfeld 35">
            <a:extLst>
              <a:ext uri="{FF2B5EF4-FFF2-40B4-BE49-F238E27FC236}">
                <a16:creationId xmlns:a16="http://schemas.microsoft.com/office/drawing/2014/main" id="{F5477A8D-EC24-4F13-8626-61D3B3F76B3F}"/>
              </a:ext>
            </a:extLst>
          </p:cNvPr>
          <p:cNvSpPr txBox="1"/>
          <p:nvPr/>
        </p:nvSpPr>
        <p:spPr>
          <a:xfrm>
            <a:off x="3196066" y="4742596"/>
            <a:ext cx="952500" cy="3732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</a:pPr>
            <a:r>
              <a:rPr lang="de-CH" dirty="0"/>
              <a:t>backend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4AF95C9A-5EE0-4EF0-873D-784C3C8E0EDA}"/>
              </a:ext>
            </a:extLst>
          </p:cNvPr>
          <p:cNvSpPr txBox="1"/>
          <p:nvPr/>
        </p:nvSpPr>
        <p:spPr>
          <a:xfrm>
            <a:off x="3196066" y="5360683"/>
            <a:ext cx="952500" cy="3732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</a:pPr>
            <a:r>
              <a:rPr lang="de-CH" dirty="0" err="1"/>
              <a:t>frontend</a:t>
            </a:r>
            <a:endParaRPr lang="de-CH" dirty="0"/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B946BA10-7638-4EDF-BD39-760998C63CF8}"/>
              </a:ext>
            </a:extLst>
          </p:cNvPr>
          <p:cNvSpPr txBox="1"/>
          <p:nvPr/>
        </p:nvSpPr>
        <p:spPr>
          <a:xfrm>
            <a:off x="10532429" y="4291620"/>
            <a:ext cx="952500" cy="3732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</a:pPr>
            <a:r>
              <a:rPr lang="de-CH" dirty="0" err="1"/>
              <a:t>frontend</a:t>
            </a:r>
            <a:endParaRPr lang="de-CH" dirty="0"/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921FF244-9A2D-4EEB-A6BC-F9869EEEB404}"/>
              </a:ext>
            </a:extLst>
          </p:cNvPr>
          <p:cNvSpPr txBox="1"/>
          <p:nvPr/>
        </p:nvSpPr>
        <p:spPr>
          <a:xfrm>
            <a:off x="10532429" y="4958808"/>
            <a:ext cx="952500" cy="3732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</a:pPr>
            <a:r>
              <a:rPr lang="de-CH" dirty="0"/>
              <a:t>backend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E95F6BCF-8EEC-4735-A026-B1DF8C9C6A88}"/>
              </a:ext>
            </a:extLst>
          </p:cNvPr>
          <p:cNvSpPr txBox="1"/>
          <p:nvPr/>
        </p:nvSpPr>
        <p:spPr>
          <a:xfrm>
            <a:off x="10532429" y="5654204"/>
            <a:ext cx="952500" cy="3732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</a:pPr>
            <a:r>
              <a:rPr lang="de-CH" dirty="0" err="1"/>
              <a:t>postgres</a:t>
            </a:r>
            <a:endParaRPr lang="de-CH" dirty="0"/>
          </a:p>
        </p:txBody>
      </p:sp>
      <p:sp>
        <p:nvSpPr>
          <p:cNvPr id="41" name="Freihandform: Form 40">
            <a:extLst>
              <a:ext uri="{FF2B5EF4-FFF2-40B4-BE49-F238E27FC236}">
                <a16:creationId xmlns:a16="http://schemas.microsoft.com/office/drawing/2014/main" id="{8881B120-FB6D-4ACA-989A-DA590DF93395}"/>
              </a:ext>
            </a:extLst>
          </p:cNvPr>
          <p:cNvSpPr/>
          <p:nvPr/>
        </p:nvSpPr>
        <p:spPr>
          <a:xfrm>
            <a:off x="1718162" y="1871948"/>
            <a:ext cx="5534496" cy="963424"/>
          </a:xfrm>
          <a:custGeom>
            <a:avLst/>
            <a:gdLst>
              <a:gd name="connsiteX0" fmla="*/ 0 w 968794"/>
              <a:gd name="connsiteY0" fmla="*/ 0 h 3092089"/>
              <a:gd name="connsiteX1" fmla="*/ 935182 w 968794"/>
              <a:gd name="connsiteY1" fmla="*/ 1506682 h 3092089"/>
              <a:gd name="connsiteX2" fmla="*/ 758537 w 968794"/>
              <a:gd name="connsiteY2" fmla="*/ 2867891 h 3092089"/>
              <a:gd name="connsiteX3" fmla="*/ 727364 w 968794"/>
              <a:gd name="connsiteY3" fmla="*/ 3075709 h 3092089"/>
              <a:gd name="connsiteX0" fmla="*/ 0 w 3823261"/>
              <a:gd name="connsiteY0" fmla="*/ 0 h 2867891"/>
              <a:gd name="connsiteX1" fmla="*/ 935182 w 3823261"/>
              <a:gd name="connsiteY1" fmla="*/ 1506682 h 2867891"/>
              <a:gd name="connsiteX2" fmla="*/ 758537 w 3823261"/>
              <a:gd name="connsiteY2" fmla="*/ 2867891 h 2867891"/>
              <a:gd name="connsiteX3" fmla="*/ 3823261 w 3823261"/>
              <a:gd name="connsiteY3" fmla="*/ 2174372 h 2867891"/>
              <a:gd name="connsiteX0" fmla="*/ 0 w 3823261"/>
              <a:gd name="connsiteY0" fmla="*/ 0 h 2916407"/>
              <a:gd name="connsiteX1" fmla="*/ 1405445 w 3823261"/>
              <a:gd name="connsiteY1" fmla="*/ 749036 h 2916407"/>
              <a:gd name="connsiteX2" fmla="*/ 758537 w 3823261"/>
              <a:gd name="connsiteY2" fmla="*/ 2867891 h 2916407"/>
              <a:gd name="connsiteX3" fmla="*/ 3823261 w 3823261"/>
              <a:gd name="connsiteY3" fmla="*/ 2174372 h 2916407"/>
              <a:gd name="connsiteX0" fmla="*/ 0 w 3823261"/>
              <a:gd name="connsiteY0" fmla="*/ 0 h 2207380"/>
              <a:gd name="connsiteX1" fmla="*/ 1405445 w 3823261"/>
              <a:gd name="connsiteY1" fmla="*/ 749036 h 2207380"/>
              <a:gd name="connsiteX2" fmla="*/ 2913908 w 3823261"/>
              <a:gd name="connsiteY2" fmla="*/ 1117469 h 2207380"/>
              <a:gd name="connsiteX3" fmla="*/ 3823261 w 3823261"/>
              <a:gd name="connsiteY3" fmla="*/ 2174372 h 2207380"/>
              <a:gd name="connsiteX0" fmla="*/ 0 w 3980015"/>
              <a:gd name="connsiteY0" fmla="*/ 0 h 2311882"/>
              <a:gd name="connsiteX1" fmla="*/ 1562199 w 3980015"/>
              <a:gd name="connsiteY1" fmla="*/ 853538 h 2311882"/>
              <a:gd name="connsiteX2" fmla="*/ 3070662 w 3980015"/>
              <a:gd name="connsiteY2" fmla="*/ 1221971 h 2311882"/>
              <a:gd name="connsiteX3" fmla="*/ 3980015 w 3980015"/>
              <a:gd name="connsiteY3" fmla="*/ 2278874 h 2311882"/>
              <a:gd name="connsiteX0" fmla="*/ 0 w 3940827"/>
              <a:gd name="connsiteY0" fmla="*/ 0 h 2324945"/>
              <a:gd name="connsiteX1" fmla="*/ 1523011 w 3940827"/>
              <a:gd name="connsiteY1" fmla="*/ 866601 h 2324945"/>
              <a:gd name="connsiteX2" fmla="*/ 3031474 w 3940827"/>
              <a:gd name="connsiteY2" fmla="*/ 1235034 h 2324945"/>
              <a:gd name="connsiteX3" fmla="*/ 3940827 w 3940827"/>
              <a:gd name="connsiteY3" fmla="*/ 2291937 h 2324945"/>
              <a:gd name="connsiteX0" fmla="*/ 0 w 3940827"/>
              <a:gd name="connsiteY0" fmla="*/ 0 h 2317134"/>
              <a:gd name="connsiteX1" fmla="*/ 1523011 w 3940827"/>
              <a:gd name="connsiteY1" fmla="*/ 866601 h 2317134"/>
              <a:gd name="connsiteX2" fmla="*/ 3684617 w 3940827"/>
              <a:gd name="connsiteY2" fmla="*/ 856211 h 2317134"/>
              <a:gd name="connsiteX3" fmla="*/ 3940827 w 3940827"/>
              <a:gd name="connsiteY3" fmla="*/ 2291937 h 2317134"/>
              <a:gd name="connsiteX0" fmla="*/ 0 w 5534496"/>
              <a:gd name="connsiteY0" fmla="*/ 0 h 963424"/>
              <a:gd name="connsiteX1" fmla="*/ 1523011 w 5534496"/>
              <a:gd name="connsiteY1" fmla="*/ 866601 h 963424"/>
              <a:gd name="connsiteX2" fmla="*/ 3684617 w 5534496"/>
              <a:gd name="connsiteY2" fmla="*/ 856211 h 963424"/>
              <a:gd name="connsiteX3" fmla="*/ 5534496 w 5534496"/>
              <a:gd name="connsiteY3" fmla="*/ 97377 h 963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34496" h="963424">
                <a:moveTo>
                  <a:pt x="0" y="0"/>
                </a:moveTo>
                <a:cubicBezTo>
                  <a:pt x="404379" y="514350"/>
                  <a:pt x="908908" y="723899"/>
                  <a:pt x="1523011" y="866601"/>
                </a:cubicBezTo>
                <a:cubicBezTo>
                  <a:pt x="2137114" y="1009303"/>
                  <a:pt x="3016036" y="984415"/>
                  <a:pt x="3684617" y="856211"/>
                </a:cubicBezTo>
                <a:cubicBezTo>
                  <a:pt x="4353198" y="728007"/>
                  <a:pt x="4512921" y="328550"/>
                  <a:pt x="5534496" y="97377"/>
                </a:cubicBezTo>
              </a:path>
            </a:pathLst>
          </a:custGeom>
          <a:noFill/>
          <a:ln w="25400" cap="flat">
            <a:solidFill>
              <a:srgbClr val="208AFF"/>
            </a:solidFill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8BFEF23-D9B7-46E0-85D2-85E26448A8E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7528" y="2447539"/>
            <a:ext cx="952500" cy="952500"/>
          </a:xfrm>
          <a:prstGeom prst="rect">
            <a:avLst/>
          </a:prstGeom>
        </p:spPr>
      </p:pic>
      <p:sp>
        <p:nvSpPr>
          <p:cNvPr id="42" name="Freihandform: Form 41">
            <a:extLst>
              <a:ext uri="{FF2B5EF4-FFF2-40B4-BE49-F238E27FC236}">
                <a16:creationId xmlns:a16="http://schemas.microsoft.com/office/drawing/2014/main" id="{D6A80284-38E4-4BD5-A863-F3F7E0F8E36F}"/>
              </a:ext>
            </a:extLst>
          </p:cNvPr>
          <p:cNvSpPr/>
          <p:nvPr/>
        </p:nvSpPr>
        <p:spPr>
          <a:xfrm>
            <a:off x="7660086" y="2154115"/>
            <a:ext cx="1968337" cy="2252749"/>
          </a:xfrm>
          <a:custGeom>
            <a:avLst/>
            <a:gdLst>
              <a:gd name="connsiteX0" fmla="*/ 0 w 968794"/>
              <a:gd name="connsiteY0" fmla="*/ 0 h 3092089"/>
              <a:gd name="connsiteX1" fmla="*/ 935182 w 968794"/>
              <a:gd name="connsiteY1" fmla="*/ 1506682 h 3092089"/>
              <a:gd name="connsiteX2" fmla="*/ 758537 w 968794"/>
              <a:gd name="connsiteY2" fmla="*/ 2867891 h 3092089"/>
              <a:gd name="connsiteX3" fmla="*/ 727364 w 968794"/>
              <a:gd name="connsiteY3" fmla="*/ 3075709 h 3092089"/>
              <a:gd name="connsiteX0" fmla="*/ 0 w 3823261"/>
              <a:gd name="connsiteY0" fmla="*/ 0 h 2867891"/>
              <a:gd name="connsiteX1" fmla="*/ 935182 w 3823261"/>
              <a:gd name="connsiteY1" fmla="*/ 1506682 h 2867891"/>
              <a:gd name="connsiteX2" fmla="*/ 758537 w 3823261"/>
              <a:gd name="connsiteY2" fmla="*/ 2867891 h 2867891"/>
              <a:gd name="connsiteX3" fmla="*/ 3823261 w 3823261"/>
              <a:gd name="connsiteY3" fmla="*/ 2174372 h 2867891"/>
              <a:gd name="connsiteX0" fmla="*/ 0 w 3823261"/>
              <a:gd name="connsiteY0" fmla="*/ 0 h 2916407"/>
              <a:gd name="connsiteX1" fmla="*/ 1405445 w 3823261"/>
              <a:gd name="connsiteY1" fmla="*/ 749036 h 2916407"/>
              <a:gd name="connsiteX2" fmla="*/ 758537 w 3823261"/>
              <a:gd name="connsiteY2" fmla="*/ 2867891 h 2916407"/>
              <a:gd name="connsiteX3" fmla="*/ 3823261 w 3823261"/>
              <a:gd name="connsiteY3" fmla="*/ 2174372 h 2916407"/>
              <a:gd name="connsiteX0" fmla="*/ 0 w 3823261"/>
              <a:gd name="connsiteY0" fmla="*/ 0 h 2207380"/>
              <a:gd name="connsiteX1" fmla="*/ 1405445 w 3823261"/>
              <a:gd name="connsiteY1" fmla="*/ 749036 h 2207380"/>
              <a:gd name="connsiteX2" fmla="*/ 2913908 w 3823261"/>
              <a:gd name="connsiteY2" fmla="*/ 1117469 h 2207380"/>
              <a:gd name="connsiteX3" fmla="*/ 3823261 w 3823261"/>
              <a:gd name="connsiteY3" fmla="*/ 2174372 h 2207380"/>
              <a:gd name="connsiteX0" fmla="*/ 0 w 3980015"/>
              <a:gd name="connsiteY0" fmla="*/ 0 h 2311882"/>
              <a:gd name="connsiteX1" fmla="*/ 1562199 w 3980015"/>
              <a:gd name="connsiteY1" fmla="*/ 853538 h 2311882"/>
              <a:gd name="connsiteX2" fmla="*/ 3070662 w 3980015"/>
              <a:gd name="connsiteY2" fmla="*/ 1221971 h 2311882"/>
              <a:gd name="connsiteX3" fmla="*/ 3980015 w 3980015"/>
              <a:gd name="connsiteY3" fmla="*/ 2278874 h 2311882"/>
              <a:gd name="connsiteX0" fmla="*/ 0 w 3940827"/>
              <a:gd name="connsiteY0" fmla="*/ 0 h 2324945"/>
              <a:gd name="connsiteX1" fmla="*/ 1523011 w 3940827"/>
              <a:gd name="connsiteY1" fmla="*/ 866601 h 2324945"/>
              <a:gd name="connsiteX2" fmla="*/ 3031474 w 3940827"/>
              <a:gd name="connsiteY2" fmla="*/ 1235034 h 2324945"/>
              <a:gd name="connsiteX3" fmla="*/ 3940827 w 3940827"/>
              <a:gd name="connsiteY3" fmla="*/ 2291937 h 2324945"/>
              <a:gd name="connsiteX0" fmla="*/ 0 w 3940827"/>
              <a:gd name="connsiteY0" fmla="*/ 0 h 2317134"/>
              <a:gd name="connsiteX1" fmla="*/ 1523011 w 3940827"/>
              <a:gd name="connsiteY1" fmla="*/ 866601 h 2317134"/>
              <a:gd name="connsiteX2" fmla="*/ 3684617 w 3940827"/>
              <a:gd name="connsiteY2" fmla="*/ 856211 h 2317134"/>
              <a:gd name="connsiteX3" fmla="*/ 3940827 w 3940827"/>
              <a:gd name="connsiteY3" fmla="*/ 2291937 h 2317134"/>
              <a:gd name="connsiteX0" fmla="*/ 0 w 5534496"/>
              <a:gd name="connsiteY0" fmla="*/ 0 h 963424"/>
              <a:gd name="connsiteX1" fmla="*/ 1523011 w 5534496"/>
              <a:gd name="connsiteY1" fmla="*/ 866601 h 963424"/>
              <a:gd name="connsiteX2" fmla="*/ 3684617 w 5534496"/>
              <a:gd name="connsiteY2" fmla="*/ 856211 h 963424"/>
              <a:gd name="connsiteX3" fmla="*/ 5534496 w 5534496"/>
              <a:gd name="connsiteY3" fmla="*/ 97377 h 963424"/>
              <a:gd name="connsiteX0" fmla="*/ 0 w 5534496"/>
              <a:gd name="connsiteY0" fmla="*/ 182270 h 1040863"/>
              <a:gd name="connsiteX1" fmla="*/ 3730633 w 5534496"/>
              <a:gd name="connsiteY1" fmla="*/ 16905 h 1040863"/>
              <a:gd name="connsiteX2" fmla="*/ 3684617 w 5534496"/>
              <a:gd name="connsiteY2" fmla="*/ 1038481 h 1040863"/>
              <a:gd name="connsiteX3" fmla="*/ 5534496 w 5534496"/>
              <a:gd name="connsiteY3" fmla="*/ 279647 h 1040863"/>
              <a:gd name="connsiteX0" fmla="*/ 0 w 2190405"/>
              <a:gd name="connsiteY0" fmla="*/ 0 h 2413073"/>
              <a:gd name="connsiteX1" fmla="*/ 386542 w 2190405"/>
              <a:gd name="connsiteY1" fmla="*/ 1389115 h 2413073"/>
              <a:gd name="connsiteX2" fmla="*/ 340526 w 2190405"/>
              <a:gd name="connsiteY2" fmla="*/ 2410691 h 2413073"/>
              <a:gd name="connsiteX3" fmla="*/ 2190405 w 2190405"/>
              <a:gd name="connsiteY3" fmla="*/ 1651857 h 2413073"/>
              <a:gd name="connsiteX0" fmla="*/ 0 w 2190405"/>
              <a:gd name="connsiteY0" fmla="*/ 0 h 2257147"/>
              <a:gd name="connsiteX1" fmla="*/ 386542 w 2190405"/>
              <a:gd name="connsiteY1" fmla="*/ 1389115 h 2257147"/>
              <a:gd name="connsiteX2" fmla="*/ 836915 w 2190405"/>
              <a:gd name="connsiteY2" fmla="*/ 2253937 h 2257147"/>
              <a:gd name="connsiteX3" fmla="*/ 2190405 w 2190405"/>
              <a:gd name="connsiteY3" fmla="*/ 1651857 h 2257147"/>
              <a:gd name="connsiteX0" fmla="*/ 0 w 1968337"/>
              <a:gd name="connsiteY0" fmla="*/ 0 h 2395765"/>
              <a:gd name="connsiteX1" fmla="*/ 386542 w 1968337"/>
              <a:gd name="connsiteY1" fmla="*/ 1389115 h 2395765"/>
              <a:gd name="connsiteX2" fmla="*/ 836915 w 1968337"/>
              <a:gd name="connsiteY2" fmla="*/ 2253937 h 2395765"/>
              <a:gd name="connsiteX3" fmla="*/ 1968337 w 1968337"/>
              <a:gd name="connsiteY3" fmla="*/ 2252749 h 2395765"/>
              <a:gd name="connsiteX0" fmla="*/ 0 w 1968337"/>
              <a:gd name="connsiteY0" fmla="*/ 0 h 2252749"/>
              <a:gd name="connsiteX1" fmla="*/ 386542 w 1968337"/>
              <a:gd name="connsiteY1" fmla="*/ 1389115 h 2252749"/>
              <a:gd name="connsiteX2" fmla="*/ 1968337 w 1968337"/>
              <a:gd name="connsiteY2" fmla="*/ 2252749 h 2252749"/>
              <a:gd name="connsiteX0" fmla="*/ 0 w 1968337"/>
              <a:gd name="connsiteY0" fmla="*/ 0 h 2252749"/>
              <a:gd name="connsiteX1" fmla="*/ 386542 w 1968337"/>
              <a:gd name="connsiteY1" fmla="*/ 1702623 h 2252749"/>
              <a:gd name="connsiteX2" fmla="*/ 1968337 w 1968337"/>
              <a:gd name="connsiteY2" fmla="*/ 2252749 h 2252749"/>
              <a:gd name="connsiteX0" fmla="*/ 0 w 1968337"/>
              <a:gd name="connsiteY0" fmla="*/ 0 h 2252749"/>
              <a:gd name="connsiteX1" fmla="*/ 386542 w 1968337"/>
              <a:gd name="connsiteY1" fmla="*/ 1702623 h 2252749"/>
              <a:gd name="connsiteX2" fmla="*/ 1968337 w 1968337"/>
              <a:gd name="connsiteY2" fmla="*/ 2252749 h 2252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68337" h="2252749">
                <a:moveTo>
                  <a:pt x="0" y="0"/>
                </a:moveTo>
                <a:cubicBezTo>
                  <a:pt x="404379" y="514350"/>
                  <a:pt x="58486" y="1327165"/>
                  <a:pt x="386542" y="1702623"/>
                </a:cubicBezTo>
                <a:cubicBezTo>
                  <a:pt x="714598" y="2078081"/>
                  <a:pt x="1129345" y="2229579"/>
                  <a:pt x="1968337" y="2252749"/>
                </a:cubicBezTo>
              </a:path>
            </a:pathLst>
          </a:custGeom>
          <a:noFill/>
          <a:ln w="25400" cap="flat">
            <a:solidFill>
              <a:srgbClr val="FE733E"/>
            </a:solidFill>
            <a:tailEnd type="arrow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43" name="Freihandform: Form 42">
            <a:extLst>
              <a:ext uri="{FF2B5EF4-FFF2-40B4-BE49-F238E27FC236}">
                <a16:creationId xmlns:a16="http://schemas.microsoft.com/office/drawing/2014/main" id="{8DB84A5D-1727-46CC-A2DB-987448BBBA50}"/>
              </a:ext>
            </a:extLst>
          </p:cNvPr>
          <p:cNvSpPr/>
          <p:nvPr/>
        </p:nvSpPr>
        <p:spPr>
          <a:xfrm>
            <a:off x="4389120" y="4468465"/>
            <a:ext cx="5177925" cy="443169"/>
          </a:xfrm>
          <a:custGeom>
            <a:avLst/>
            <a:gdLst>
              <a:gd name="connsiteX0" fmla="*/ 0 w 5177925"/>
              <a:gd name="connsiteY0" fmla="*/ 443169 h 443169"/>
              <a:gd name="connsiteX1" fmla="*/ 1815737 w 5177925"/>
              <a:gd name="connsiteY1" fmla="*/ 364792 h 443169"/>
              <a:gd name="connsiteX2" fmla="*/ 4781006 w 5177925"/>
              <a:gd name="connsiteY2" fmla="*/ 25158 h 443169"/>
              <a:gd name="connsiteX3" fmla="*/ 5146766 w 5177925"/>
              <a:gd name="connsiteY3" fmla="*/ 25158 h 443169"/>
              <a:gd name="connsiteX4" fmla="*/ 5146766 w 5177925"/>
              <a:gd name="connsiteY4" fmla="*/ 25158 h 443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77925" h="443169">
                <a:moveTo>
                  <a:pt x="0" y="443169"/>
                </a:moveTo>
                <a:cubicBezTo>
                  <a:pt x="509451" y="438814"/>
                  <a:pt x="1018903" y="434460"/>
                  <a:pt x="1815737" y="364792"/>
                </a:cubicBezTo>
                <a:cubicBezTo>
                  <a:pt x="2612571" y="295124"/>
                  <a:pt x="4225834" y="81764"/>
                  <a:pt x="4781006" y="25158"/>
                </a:cubicBezTo>
                <a:cubicBezTo>
                  <a:pt x="5336178" y="-31448"/>
                  <a:pt x="5146766" y="25158"/>
                  <a:pt x="5146766" y="25158"/>
                </a:cubicBezTo>
                <a:lnTo>
                  <a:pt x="5146766" y="25158"/>
                </a:lnTo>
              </a:path>
            </a:pathLst>
          </a:custGeom>
          <a:noFill/>
          <a:ln w="25400">
            <a:solidFill>
              <a:srgbClr val="FE733E"/>
            </a:solidFill>
            <a:prstDash val="dash"/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130180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113F8F-C16E-4559-898F-BDE7D1ACE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175" y="441324"/>
            <a:ext cx="10153650" cy="885199"/>
          </a:xfrm>
        </p:spPr>
        <p:txBody>
          <a:bodyPr/>
          <a:lstStyle/>
          <a:p>
            <a:r>
              <a:rPr lang="de-CH" dirty="0"/>
              <a:t>Appendix A: </a:t>
            </a:r>
            <a:r>
              <a:rPr lang="de-CH" dirty="0" err="1"/>
              <a:t>CuT</a:t>
            </a:r>
            <a:r>
              <a:rPr lang="de-CH" dirty="0"/>
              <a:t> DB Modell (</a:t>
            </a:r>
            <a:r>
              <a:rPr lang="de-CH" dirty="0" err="1"/>
              <a:t>simplified</a:t>
            </a:r>
            <a:r>
              <a:rPr lang="de-CH" dirty="0"/>
              <a:t>)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AAD6964-A55E-4276-BCC0-1E5E0FBF306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2AB1519-6174-4942-BAE6-B9994255C374}" type="datetime1">
              <a:rPr lang="de-CH" smtClean="0"/>
              <a:t>29.10.2020</a:t>
            </a:fld>
            <a:endParaRPr lang="de-CH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AFF9A42-CFB3-459F-A330-AA45008F13A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CH" dirty="0" err="1"/>
              <a:t>codes</a:t>
            </a:r>
            <a:r>
              <a:rPr lang="de-CH" dirty="0"/>
              <a:t>-and-texts @ </a:t>
            </a:r>
            <a:r>
              <a:rPr lang="de-CH" dirty="0" err="1"/>
              <a:t>codecamp</a:t>
            </a:r>
            <a:endParaRPr lang="de-CH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71EBC16-A301-4EE0-966A-01ECA09117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5CD4E9B-BCA1-49D6-A6CF-2D362896A9F8}" type="slidenum">
              <a:rPr lang="de-CH" smtClean="0"/>
              <a:pPr/>
              <a:t>9</a:t>
            </a:fld>
            <a:endParaRPr lang="de-CH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1758AA1-A648-4600-820B-89CE4942182E}"/>
              </a:ext>
            </a:extLst>
          </p:cNvPr>
          <p:cNvSpPr/>
          <p:nvPr/>
        </p:nvSpPr>
        <p:spPr>
          <a:xfrm>
            <a:off x="925846" y="3641475"/>
            <a:ext cx="1700451" cy="676884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e-CH" dirty="0" err="1"/>
              <a:t>element</a:t>
            </a:r>
            <a:r>
              <a:rPr lang="de-CH" dirty="0"/>
              <a:t> (LBL, 1)</a:t>
            </a:r>
          </a:p>
        </p:txBody>
      </p:sp>
      <p:cxnSp>
        <p:nvCxnSpPr>
          <p:cNvPr id="14" name="Verbinder: gewinkelt 13">
            <a:extLst>
              <a:ext uri="{FF2B5EF4-FFF2-40B4-BE49-F238E27FC236}">
                <a16:creationId xmlns:a16="http://schemas.microsoft.com/office/drawing/2014/main" id="{47FEB13F-EB14-4E47-92D5-BE00F600F652}"/>
              </a:ext>
            </a:extLst>
          </p:cNvPr>
          <p:cNvCxnSpPr>
            <a:cxnSpLocks/>
            <a:stCxn id="33" idx="1"/>
            <a:endCxn id="22" idx="1"/>
          </p:cNvCxnSpPr>
          <p:nvPr/>
        </p:nvCxnSpPr>
        <p:spPr>
          <a:xfrm rot="10800000">
            <a:off x="931684" y="2829176"/>
            <a:ext cx="1" cy="2160011"/>
          </a:xfrm>
          <a:prstGeom prst="bentConnector3">
            <a:avLst>
              <a:gd name="adj1" fmla="val 22860100000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Verbinder: gewinkelt 14">
            <a:extLst>
              <a:ext uri="{FF2B5EF4-FFF2-40B4-BE49-F238E27FC236}">
                <a16:creationId xmlns:a16="http://schemas.microsoft.com/office/drawing/2014/main" id="{83ACA99A-3124-4B51-99DF-6EE9737842EA}"/>
              </a:ext>
            </a:extLst>
          </p:cNvPr>
          <p:cNvCxnSpPr>
            <a:cxnSpLocks/>
            <a:stCxn id="10" idx="0"/>
            <a:endCxn id="22" idx="2"/>
          </p:cNvCxnSpPr>
          <p:nvPr/>
        </p:nvCxnSpPr>
        <p:spPr>
          <a:xfrm rot="5400000" flipH="1" flipV="1">
            <a:off x="1542061" y="3401628"/>
            <a:ext cx="473858" cy="5837"/>
          </a:xfrm>
          <a:prstGeom prst="bentConnector3">
            <a:avLst>
              <a:gd name="adj1" fmla="val 50000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F0C44A30-0F9A-46FF-B0D5-439C820F3FAD}"/>
              </a:ext>
            </a:extLst>
          </p:cNvPr>
          <p:cNvSpPr/>
          <p:nvPr/>
        </p:nvSpPr>
        <p:spPr>
          <a:xfrm>
            <a:off x="3328213" y="3640201"/>
            <a:ext cx="1740490" cy="676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e-CH" dirty="0" err="1"/>
              <a:t>text</a:t>
            </a:r>
            <a:endParaRPr lang="de-CH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0919037-03C5-41C8-9B43-A29A84B279B7}"/>
              </a:ext>
            </a:extLst>
          </p:cNvPr>
          <p:cNvSpPr/>
          <p:nvPr/>
        </p:nvSpPr>
        <p:spPr>
          <a:xfrm>
            <a:off x="5561544" y="3640383"/>
            <a:ext cx="1740186" cy="676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e-CH" dirty="0" err="1"/>
              <a:t>codetext</a:t>
            </a:r>
            <a:endParaRPr lang="de-CH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D4E5654-D99D-4F13-8CBB-BC948EBB7BC0}"/>
              </a:ext>
            </a:extLst>
          </p:cNvPr>
          <p:cNvSpPr/>
          <p:nvPr/>
        </p:nvSpPr>
        <p:spPr>
          <a:xfrm>
            <a:off x="7803669" y="3634033"/>
            <a:ext cx="1518848" cy="67688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e-CH" dirty="0" err="1"/>
              <a:t>codetextstil</a:t>
            </a:r>
            <a:endParaRPr lang="de-CH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59A9609-89EE-497C-9D38-A62C5F7C04D6}"/>
              </a:ext>
            </a:extLst>
          </p:cNvPr>
          <p:cNvSpPr/>
          <p:nvPr/>
        </p:nvSpPr>
        <p:spPr>
          <a:xfrm>
            <a:off x="3328213" y="4657417"/>
            <a:ext cx="1740490" cy="67688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e-CH" dirty="0" err="1"/>
              <a:t>meldungsref</a:t>
            </a:r>
            <a:endParaRPr lang="de-CH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BB503723-7AE7-434D-B742-7B1793956292}"/>
              </a:ext>
            </a:extLst>
          </p:cNvPr>
          <p:cNvSpPr/>
          <p:nvPr/>
        </p:nvSpPr>
        <p:spPr>
          <a:xfrm>
            <a:off x="931683" y="2490733"/>
            <a:ext cx="1700451" cy="676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e-CH" dirty="0" err="1"/>
              <a:t>applikation</a:t>
            </a:r>
            <a:endParaRPr lang="de-CH" dirty="0"/>
          </a:p>
        </p:txBody>
      </p:sp>
      <p:cxnSp>
        <p:nvCxnSpPr>
          <p:cNvPr id="23" name="Verbinder: gewinkelt 22">
            <a:extLst>
              <a:ext uri="{FF2B5EF4-FFF2-40B4-BE49-F238E27FC236}">
                <a16:creationId xmlns:a16="http://schemas.microsoft.com/office/drawing/2014/main" id="{B3B1EF3C-A412-4A65-A8A4-3059478B7EF9}"/>
              </a:ext>
            </a:extLst>
          </p:cNvPr>
          <p:cNvCxnSpPr>
            <a:cxnSpLocks/>
            <a:stCxn id="27" idx="3"/>
            <a:endCxn id="28" idx="1"/>
          </p:cNvCxnSpPr>
          <p:nvPr/>
        </p:nvCxnSpPr>
        <p:spPr>
          <a:xfrm>
            <a:off x="9312041" y="2823185"/>
            <a:ext cx="608749" cy="2350"/>
          </a:xfrm>
          <a:prstGeom prst="bentConnector3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E045374A-77E5-4A58-BAB0-4DE4000816E6}"/>
              </a:ext>
            </a:extLst>
          </p:cNvPr>
          <p:cNvSpPr/>
          <p:nvPr/>
        </p:nvSpPr>
        <p:spPr>
          <a:xfrm>
            <a:off x="3287552" y="2490733"/>
            <a:ext cx="1818645" cy="67688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e-CH" dirty="0" err="1"/>
              <a:t>coderef</a:t>
            </a:r>
            <a:endParaRPr lang="de-CH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6C6EB1B-C523-4DE7-B9B8-493285FA5702}"/>
              </a:ext>
            </a:extLst>
          </p:cNvPr>
          <p:cNvSpPr/>
          <p:nvPr/>
        </p:nvSpPr>
        <p:spPr>
          <a:xfrm>
            <a:off x="5532089" y="2486321"/>
            <a:ext cx="1796657" cy="676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e-CH" dirty="0" err="1"/>
              <a:t>codewert</a:t>
            </a:r>
            <a:endParaRPr lang="de-CH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79E6E0A7-2D0E-4337-8567-396D500B01D8}"/>
              </a:ext>
            </a:extLst>
          </p:cNvPr>
          <p:cNvSpPr/>
          <p:nvPr/>
        </p:nvSpPr>
        <p:spPr>
          <a:xfrm>
            <a:off x="7803669" y="2484743"/>
            <a:ext cx="1508372" cy="676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e-CH" dirty="0" err="1"/>
              <a:t>codetyp</a:t>
            </a:r>
            <a:endParaRPr lang="de-CH" dirty="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6F457D8-1ED0-4F5C-B682-5384A46F2985}"/>
              </a:ext>
            </a:extLst>
          </p:cNvPr>
          <p:cNvSpPr/>
          <p:nvPr/>
        </p:nvSpPr>
        <p:spPr>
          <a:xfrm>
            <a:off x="9920790" y="2487093"/>
            <a:ext cx="1577791" cy="676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e-CH" dirty="0" err="1"/>
              <a:t>zustaendig</a:t>
            </a:r>
            <a:endParaRPr lang="de-CH" dirty="0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B84155C4-D9F2-4F31-93EF-E96160538632}"/>
              </a:ext>
            </a:extLst>
          </p:cNvPr>
          <p:cNvSpPr/>
          <p:nvPr/>
        </p:nvSpPr>
        <p:spPr>
          <a:xfrm>
            <a:off x="931684" y="4650744"/>
            <a:ext cx="1700451" cy="67688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e-CH" dirty="0" err="1"/>
              <a:t>meldungsstil</a:t>
            </a:r>
            <a:endParaRPr lang="de-CH" dirty="0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978BBB57-01B7-49F0-8834-76CABCC78D1E}"/>
              </a:ext>
            </a:extLst>
          </p:cNvPr>
          <p:cNvSpPr/>
          <p:nvPr/>
        </p:nvSpPr>
        <p:spPr>
          <a:xfrm>
            <a:off x="3303266" y="1503457"/>
            <a:ext cx="1802931" cy="67688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e-CH" dirty="0" err="1"/>
              <a:t>element</a:t>
            </a:r>
            <a:r>
              <a:rPr lang="de-CH" dirty="0"/>
              <a:t> </a:t>
            </a:r>
          </a:p>
          <a:p>
            <a:pPr algn="ctr">
              <a:lnSpc>
                <a:spcPct val="108000"/>
              </a:lnSpc>
            </a:pPr>
            <a:r>
              <a:rPr lang="de-CH" dirty="0"/>
              <a:t>(W, 2)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F54BABC-44C5-4B49-B789-8BB2727F1390}"/>
              </a:ext>
            </a:extLst>
          </p:cNvPr>
          <p:cNvSpPr/>
          <p:nvPr/>
        </p:nvSpPr>
        <p:spPr>
          <a:xfrm>
            <a:off x="5532090" y="1509807"/>
            <a:ext cx="1802931" cy="67688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e-CH" dirty="0" err="1"/>
              <a:t>codeelement</a:t>
            </a:r>
            <a:endParaRPr lang="de-CH" dirty="0"/>
          </a:p>
        </p:txBody>
      </p:sp>
      <p:cxnSp>
        <p:nvCxnSpPr>
          <p:cNvPr id="45" name="Verbinder: gewinkelt 44">
            <a:extLst>
              <a:ext uri="{FF2B5EF4-FFF2-40B4-BE49-F238E27FC236}">
                <a16:creationId xmlns:a16="http://schemas.microsoft.com/office/drawing/2014/main" id="{90EC1EDE-DF14-4F70-81F8-E9B432A6E051}"/>
              </a:ext>
            </a:extLst>
          </p:cNvPr>
          <p:cNvCxnSpPr>
            <a:cxnSpLocks/>
            <a:stCxn id="18" idx="0"/>
            <a:endCxn id="27" idx="2"/>
          </p:cNvCxnSpPr>
          <p:nvPr/>
        </p:nvCxnSpPr>
        <p:spPr>
          <a:xfrm rot="16200000" flipV="1">
            <a:off x="8324271" y="3395211"/>
            <a:ext cx="472406" cy="5238"/>
          </a:xfrm>
          <a:prstGeom prst="bentConnector3">
            <a:avLst>
              <a:gd name="adj1" fmla="val 50000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Verbinder: gewinkelt 47">
            <a:extLst>
              <a:ext uri="{FF2B5EF4-FFF2-40B4-BE49-F238E27FC236}">
                <a16:creationId xmlns:a16="http://schemas.microsoft.com/office/drawing/2014/main" id="{E5CFA62B-546E-42F1-B939-6864FA24E2CA}"/>
              </a:ext>
            </a:extLst>
          </p:cNvPr>
          <p:cNvCxnSpPr>
            <a:cxnSpLocks/>
            <a:stCxn id="26" idx="3"/>
            <a:endCxn id="27" idx="1"/>
          </p:cNvCxnSpPr>
          <p:nvPr/>
        </p:nvCxnSpPr>
        <p:spPr>
          <a:xfrm flipV="1">
            <a:off x="7328746" y="2823185"/>
            <a:ext cx="474923" cy="1578"/>
          </a:xfrm>
          <a:prstGeom prst="bentConnector3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Verbinder: gewinkelt 50">
            <a:extLst>
              <a:ext uri="{FF2B5EF4-FFF2-40B4-BE49-F238E27FC236}">
                <a16:creationId xmlns:a16="http://schemas.microsoft.com/office/drawing/2014/main" id="{C25C1E3A-E638-4FB8-8F9C-7702943E5503}"/>
              </a:ext>
            </a:extLst>
          </p:cNvPr>
          <p:cNvCxnSpPr>
            <a:cxnSpLocks/>
            <a:stCxn id="17" idx="3"/>
            <a:endCxn id="18" idx="1"/>
          </p:cNvCxnSpPr>
          <p:nvPr/>
        </p:nvCxnSpPr>
        <p:spPr>
          <a:xfrm flipV="1">
            <a:off x="7301730" y="3972475"/>
            <a:ext cx="501939" cy="6350"/>
          </a:xfrm>
          <a:prstGeom prst="bentConnector3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Verbinder: gewinkelt 53">
            <a:extLst>
              <a:ext uri="{FF2B5EF4-FFF2-40B4-BE49-F238E27FC236}">
                <a16:creationId xmlns:a16="http://schemas.microsoft.com/office/drawing/2014/main" id="{C0E2D673-B651-44C2-B381-1AF5DE58515A}"/>
              </a:ext>
            </a:extLst>
          </p:cNvPr>
          <p:cNvCxnSpPr>
            <a:cxnSpLocks/>
            <a:stCxn id="25" idx="3"/>
            <a:endCxn id="26" idx="1"/>
          </p:cNvCxnSpPr>
          <p:nvPr/>
        </p:nvCxnSpPr>
        <p:spPr>
          <a:xfrm flipV="1">
            <a:off x="5106197" y="2824763"/>
            <a:ext cx="425892" cy="4412"/>
          </a:xfrm>
          <a:prstGeom prst="bentConnector3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Verbinder: gewinkelt 56">
            <a:extLst>
              <a:ext uri="{FF2B5EF4-FFF2-40B4-BE49-F238E27FC236}">
                <a16:creationId xmlns:a16="http://schemas.microsoft.com/office/drawing/2014/main" id="{3A67522D-BC72-418C-AAF0-D7EF42F71333}"/>
              </a:ext>
            </a:extLst>
          </p:cNvPr>
          <p:cNvCxnSpPr>
            <a:cxnSpLocks/>
            <a:stCxn id="25" idx="1"/>
            <a:endCxn id="22" idx="3"/>
          </p:cNvCxnSpPr>
          <p:nvPr/>
        </p:nvCxnSpPr>
        <p:spPr>
          <a:xfrm rot="10800000">
            <a:off x="2632134" y="2829175"/>
            <a:ext cx="655418" cy="12700"/>
          </a:xfrm>
          <a:prstGeom prst="bentConnector3">
            <a:avLst>
              <a:gd name="adj1" fmla="val 50000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Verbinder: gewinkelt 59">
            <a:extLst>
              <a:ext uri="{FF2B5EF4-FFF2-40B4-BE49-F238E27FC236}">
                <a16:creationId xmlns:a16="http://schemas.microsoft.com/office/drawing/2014/main" id="{1E3197B9-B4D3-4BE1-BE7F-D64E93170FE4}"/>
              </a:ext>
            </a:extLst>
          </p:cNvPr>
          <p:cNvCxnSpPr>
            <a:cxnSpLocks/>
            <a:stCxn id="17" idx="1"/>
            <a:endCxn id="16" idx="3"/>
          </p:cNvCxnSpPr>
          <p:nvPr/>
        </p:nvCxnSpPr>
        <p:spPr>
          <a:xfrm rot="10800000">
            <a:off x="5068704" y="3978643"/>
            <a:ext cx="492841" cy="182"/>
          </a:xfrm>
          <a:prstGeom prst="bentConnector3">
            <a:avLst>
              <a:gd name="adj1" fmla="val 50000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Verbinder: gewinkelt 62">
            <a:extLst>
              <a:ext uri="{FF2B5EF4-FFF2-40B4-BE49-F238E27FC236}">
                <a16:creationId xmlns:a16="http://schemas.microsoft.com/office/drawing/2014/main" id="{D03D2F56-B33B-4333-A6CD-F6C314D84C9F}"/>
              </a:ext>
            </a:extLst>
          </p:cNvPr>
          <p:cNvCxnSpPr>
            <a:cxnSpLocks/>
            <a:stCxn id="10" idx="3"/>
            <a:endCxn id="16" idx="1"/>
          </p:cNvCxnSpPr>
          <p:nvPr/>
        </p:nvCxnSpPr>
        <p:spPr>
          <a:xfrm flipV="1">
            <a:off x="2626297" y="3978643"/>
            <a:ext cx="701916" cy="1274"/>
          </a:xfrm>
          <a:prstGeom prst="bentConnector3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Verbinder: gewinkelt 65">
            <a:extLst>
              <a:ext uri="{FF2B5EF4-FFF2-40B4-BE49-F238E27FC236}">
                <a16:creationId xmlns:a16="http://schemas.microsoft.com/office/drawing/2014/main" id="{EE9C3C85-2863-498F-ABB8-4B2D78277D90}"/>
              </a:ext>
            </a:extLst>
          </p:cNvPr>
          <p:cNvCxnSpPr>
            <a:cxnSpLocks/>
            <a:stCxn id="20" idx="0"/>
            <a:endCxn id="16" idx="2"/>
          </p:cNvCxnSpPr>
          <p:nvPr/>
        </p:nvCxnSpPr>
        <p:spPr>
          <a:xfrm rot="5400000" flipH="1" flipV="1">
            <a:off x="4028292" y="4487251"/>
            <a:ext cx="340332" cy="12700"/>
          </a:xfrm>
          <a:prstGeom prst="bentConnector3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Verbinder: gewinkelt 68">
            <a:extLst>
              <a:ext uri="{FF2B5EF4-FFF2-40B4-BE49-F238E27FC236}">
                <a16:creationId xmlns:a16="http://schemas.microsoft.com/office/drawing/2014/main" id="{DA92A1A3-4AC0-43D2-A827-C6A1A3FD62EB}"/>
              </a:ext>
            </a:extLst>
          </p:cNvPr>
          <p:cNvCxnSpPr>
            <a:cxnSpLocks/>
            <a:stCxn id="20" idx="1"/>
            <a:endCxn id="33" idx="3"/>
          </p:cNvCxnSpPr>
          <p:nvPr/>
        </p:nvCxnSpPr>
        <p:spPr>
          <a:xfrm rot="10800000">
            <a:off x="2632135" y="4989187"/>
            <a:ext cx="696078" cy="6673"/>
          </a:xfrm>
          <a:prstGeom prst="bentConnector3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Verbinder: gewinkelt 71">
            <a:extLst>
              <a:ext uri="{FF2B5EF4-FFF2-40B4-BE49-F238E27FC236}">
                <a16:creationId xmlns:a16="http://schemas.microsoft.com/office/drawing/2014/main" id="{42AC8021-1C2C-4286-A466-5D06E7F4FCC7}"/>
              </a:ext>
            </a:extLst>
          </p:cNvPr>
          <p:cNvCxnSpPr>
            <a:cxnSpLocks/>
            <a:stCxn id="35" idx="3"/>
            <a:endCxn id="27" idx="0"/>
          </p:cNvCxnSpPr>
          <p:nvPr/>
        </p:nvCxnSpPr>
        <p:spPr>
          <a:xfrm>
            <a:off x="7335021" y="1848249"/>
            <a:ext cx="1222834" cy="636494"/>
          </a:xfrm>
          <a:prstGeom prst="bentConnector2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Verbinder: gewinkelt 74">
            <a:extLst>
              <a:ext uri="{FF2B5EF4-FFF2-40B4-BE49-F238E27FC236}">
                <a16:creationId xmlns:a16="http://schemas.microsoft.com/office/drawing/2014/main" id="{DF3D5358-7B5C-44DA-9EAD-4A9908CA8DF8}"/>
              </a:ext>
            </a:extLst>
          </p:cNvPr>
          <p:cNvCxnSpPr>
            <a:cxnSpLocks/>
            <a:stCxn id="25" idx="2"/>
            <a:endCxn id="16" idx="0"/>
          </p:cNvCxnSpPr>
          <p:nvPr/>
        </p:nvCxnSpPr>
        <p:spPr>
          <a:xfrm rot="16200000" flipH="1">
            <a:off x="3961374" y="3403117"/>
            <a:ext cx="472584" cy="1583"/>
          </a:xfrm>
          <a:prstGeom prst="bentConnector3">
            <a:avLst>
              <a:gd name="adj1" fmla="val 50000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Verbinder: gewinkelt 79">
            <a:extLst>
              <a:ext uri="{FF2B5EF4-FFF2-40B4-BE49-F238E27FC236}">
                <a16:creationId xmlns:a16="http://schemas.microsoft.com/office/drawing/2014/main" id="{AB84BD0A-8EC0-4439-B84F-0B5B5A558D6E}"/>
              </a:ext>
            </a:extLst>
          </p:cNvPr>
          <p:cNvCxnSpPr>
            <a:cxnSpLocks/>
            <a:stCxn id="25" idx="0"/>
            <a:endCxn id="34" idx="2"/>
          </p:cNvCxnSpPr>
          <p:nvPr/>
        </p:nvCxnSpPr>
        <p:spPr>
          <a:xfrm rot="5400000" flipH="1" flipV="1">
            <a:off x="4045607" y="2331609"/>
            <a:ext cx="310392" cy="7857"/>
          </a:xfrm>
          <a:prstGeom prst="bentConnector3">
            <a:avLst>
              <a:gd name="adj1" fmla="val 50000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Verbinder: gewinkelt 82">
            <a:extLst>
              <a:ext uri="{FF2B5EF4-FFF2-40B4-BE49-F238E27FC236}">
                <a16:creationId xmlns:a16="http://schemas.microsoft.com/office/drawing/2014/main" id="{23D42A82-F364-46C9-A85A-B783BC5E6EEE}"/>
              </a:ext>
            </a:extLst>
          </p:cNvPr>
          <p:cNvCxnSpPr>
            <a:cxnSpLocks/>
            <a:stCxn id="35" idx="1"/>
            <a:endCxn id="34" idx="3"/>
          </p:cNvCxnSpPr>
          <p:nvPr/>
        </p:nvCxnSpPr>
        <p:spPr>
          <a:xfrm rot="10800000">
            <a:off x="5106198" y="1841899"/>
            <a:ext cx="425893" cy="6350"/>
          </a:xfrm>
          <a:prstGeom prst="bentConnector3">
            <a:avLst>
              <a:gd name="adj1" fmla="val 50000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Verbinder: gewinkelt 183">
            <a:extLst>
              <a:ext uri="{FF2B5EF4-FFF2-40B4-BE49-F238E27FC236}">
                <a16:creationId xmlns:a16="http://schemas.microsoft.com/office/drawing/2014/main" id="{FF68F236-A964-456E-9F9F-449640850365}"/>
              </a:ext>
            </a:extLst>
          </p:cNvPr>
          <p:cNvCxnSpPr>
            <a:cxnSpLocks/>
            <a:stCxn id="17" idx="0"/>
            <a:endCxn id="26" idx="2"/>
          </p:cNvCxnSpPr>
          <p:nvPr/>
        </p:nvCxnSpPr>
        <p:spPr>
          <a:xfrm rot="16200000" flipV="1">
            <a:off x="6192439" y="3401184"/>
            <a:ext cx="477178" cy="1219"/>
          </a:xfrm>
          <a:prstGeom prst="bentConnector3">
            <a:avLst>
              <a:gd name="adj1" fmla="val 50000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Verbinder: gewinkelt 208">
            <a:extLst>
              <a:ext uri="{FF2B5EF4-FFF2-40B4-BE49-F238E27FC236}">
                <a16:creationId xmlns:a16="http://schemas.microsoft.com/office/drawing/2014/main" id="{0B22DE56-8F34-4963-AF06-8A4CF3907231}"/>
              </a:ext>
            </a:extLst>
          </p:cNvPr>
          <p:cNvCxnSpPr>
            <a:cxnSpLocks/>
            <a:stCxn id="34" idx="1"/>
            <a:endCxn id="22" idx="0"/>
          </p:cNvCxnSpPr>
          <p:nvPr/>
        </p:nvCxnSpPr>
        <p:spPr>
          <a:xfrm rot="10800000" flipV="1">
            <a:off x="1781910" y="1841899"/>
            <a:ext cx="1521357" cy="648834"/>
          </a:xfrm>
          <a:prstGeom prst="bentConnector2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38371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sler Versicherung">
  <a:themeElements>
    <a:clrScheme name="Baloise Group">
      <a:dk1>
        <a:srgbClr val="000000"/>
      </a:dk1>
      <a:lt1>
        <a:srgbClr val="FFFFFF"/>
      </a:lt1>
      <a:dk2>
        <a:srgbClr val="000000"/>
      </a:dk2>
      <a:lt2>
        <a:srgbClr val="CCCCCC"/>
      </a:lt2>
      <a:accent1>
        <a:srgbClr val="003399"/>
      </a:accent1>
      <a:accent2>
        <a:srgbClr val="00A5D5"/>
      </a:accent2>
      <a:accent3>
        <a:srgbClr val="B7007A"/>
      </a:accent3>
      <a:accent4>
        <a:srgbClr val="E64366"/>
      </a:accent4>
      <a:accent5>
        <a:srgbClr val="F6A800"/>
      </a:accent5>
      <a:accent6>
        <a:srgbClr val="FFDC44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lnSpc>
            <a:spcPct val="108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defRPr dirty="0" err="1" smtClean="0"/>
        </a:defPPr>
      </a:lstStyle>
    </a:txDef>
  </a:objectDefaults>
  <a:extraClrSchemeLst>
    <a:extraClrScheme>
      <a:clrScheme name="Baloise Group">
        <a:dk1>
          <a:srgbClr val="000000"/>
        </a:dk1>
        <a:lt1>
          <a:srgbClr val="FFFFFF"/>
        </a:lt1>
        <a:dk2>
          <a:srgbClr val="000000"/>
        </a:dk2>
        <a:lt2>
          <a:srgbClr val="CCCCCC"/>
        </a:lt2>
        <a:accent1>
          <a:srgbClr val="003399"/>
        </a:accent1>
        <a:accent2>
          <a:srgbClr val="00A5D5"/>
        </a:accent2>
        <a:accent3>
          <a:srgbClr val="B7007A"/>
        </a:accent3>
        <a:accent4>
          <a:srgbClr val="E64366"/>
        </a:accent4>
        <a:accent5>
          <a:srgbClr val="F6A800"/>
        </a:accent5>
        <a:accent6>
          <a:srgbClr val="FFDC44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asler_versicherungen_leer_de.potx" id="{725F372C-3D9A-459C-A903-872B72037006}" vid="{790A14DF-5697-4C44-BA77-5A7FEC9F907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asler_versicherungen_de</Template>
  <TotalTime>0</TotalTime>
  <Words>318</Words>
  <Application>Microsoft Office PowerPoint</Application>
  <PresentationFormat>Breitbild</PresentationFormat>
  <Paragraphs>112</Paragraphs>
  <Slides>1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4" baseType="lpstr">
      <vt:lpstr>Arial</vt:lpstr>
      <vt:lpstr>Calibri</vt:lpstr>
      <vt:lpstr>Basler Versicherung</vt:lpstr>
      <vt:lpstr>think-cell Slide</vt:lpstr>
      <vt:lpstr>Codes and Texts @ Codecamp</vt:lpstr>
      <vt:lpstr>Background: Code- und Text-Verwaltung @ Baloise</vt:lpstr>
      <vt:lpstr>Codecamp 2019: codes-and-texts prototypes</vt:lpstr>
      <vt:lpstr>Codecamp 2020: codes-and-texts fill the gaps</vt:lpstr>
      <vt:lpstr>Codecamp 2020: Vaadin Client Demo</vt:lpstr>
      <vt:lpstr>Codecamp 2020: backend/persistence</vt:lpstr>
      <vt:lpstr>Codecamp 2020: backend: the new API</vt:lpstr>
      <vt:lpstr>Codecamp 2020: deployment</vt:lpstr>
      <vt:lpstr>Appendix A: CuT DB Modell (simplified)</vt:lpstr>
      <vt:lpstr>Appendix B: CaT prototype view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des and Texts @ Codecamp 2020</dc:title>
  <dc:creator>Lipp, Christoph</dc:creator>
  <cp:lastModifiedBy>Mühlebach, Michael</cp:lastModifiedBy>
  <cp:revision>32</cp:revision>
  <dcterms:created xsi:type="dcterms:W3CDTF">2020-10-24T16:37:13Z</dcterms:created>
  <dcterms:modified xsi:type="dcterms:W3CDTF">2020-10-29T16:22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78055ef-7607-46e5-9564-5469035a1b2e_Enabled">
    <vt:lpwstr>true</vt:lpwstr>
  </property>
  <property fmtid="{D5CDD505-2E9C-101B-9397-08002B2CF9AE}" pid="3" name="MSIP_Label_378055ef-7607-46e5-9564-5469035a1b2e_SetDate">
    <vt:lpwstr>2020-10-24T16:55:44Z</vt:lpwstr>
  </property>
  <property fmtid="{D5CDD505-2E9C-101B-9397-08002B2CF9AE}" pid="4" name="MSIP_Label_378055ef-7607-46e5-9564-5469035a1b2e_Method">
    <vt:lpwstr>Standard</vt:lpwstr>
  </property>
  <property fmtid="{D5CDD505-2E9C-101B-9397-08002B2CF9AE}" pid="5" name="MSIP_Label_378055ef-7607-46e5-9564-5469035a1b2e_Name">
    <vt:lpwstr>378055ef-7607-46e5-9564-5469035a1b2e</vt:lpwstr>
  </property>
  <property fmtid="{D5CDD505-2E9C-101B-9397-08002B2CF9AE}" pid="6" name="MSIP_Label_378055ef-7607-46e5-9564-5469035a1b2e_SiteId">
    <vt:lpwstr>eb3c68b9-0935-4046-8550-8bcaa4167e2e</vt:lpwstr>
  </property>
  <property fmtid="{D5CDD505-2E9C-101B-9397-08002B2CF9AE}" pid="7" name="MSIP_Label_378055ef-7607-46e5-9564-5469035a1b2e_ActionId">
    <vt:lpwstr>aacd5303-a2c7-4e7c-ac02-1843452aa0ff</vt:lpwstr>
  </property>
  <property fmtid="{D5CDD505-2E9C-101B-9397-08002B2CF9AE}" pid="8" name="MSIP_Label_378055ef-7607-46e5-9564-5469035a1b2e_ContentBits">
    <vt:lpwstr>0</vt:lpwstr>
  </property>
</Properties>
</file>